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3" r:id="rId2"/>
    <p:sldMasterId id="2147483685" r:id="rId3"/>
    <p:sldMasterId id="2147483698" r:id="rId4"/>
    <p:sldMasterId id="2147483710" r:id="rId5"/>
  </p:sldMasterIdLst>
  <p:notesMasterIdLst>
    <p:notesMasterId r:id="rId63"/>
  </p:notesMasterIdLst>
  <p:sldIdLst>
    <p:sldId id="364" r:id="rId6"/>
    <p:sldId id="322" r:id="rId7"/>
    <p:sldId id="330" r:id="rId8"/>
    <p:sldId id="365" r:id="rId9"/>
    <p:sldId id="366" r:id="rId10"/>
    <p:sldId id="367" r:id="rId11"/>
    <p:sldId id="368" r:id="rId12"/>
    <p:sldId id="369" r:id="rId13"/>
    <p:sldId id="370" r:id="rId14"/>
    <p:sldId id="371" r:id="rId15"/>
    <p:sldId id="372" r:id="rId16"/>
    <p:sldId id="373" r:id="rId17"/>
    <p:sldId id="374" r:id="rId18"/>
    <p:sldId id="375" r:id="rId19"/>
    <p:sldId id="376" r:id="rId20"/>
    <p:sldId id="377" r:id="rId21"/>
    <p:sldId id="378" r:id="rId22"/>
    <p:sldId id="379" r:id="rId23"/>
    <p:sldId id="380" r:id="rId24"/>
    <p:sldId id="309" r:id="rId25"/>
    <p:sldId id="310" r:id="rId26"/>
    <p:sldId id="311" r:id="rId27"/>
    <p:sldId id="312" r:id="rId28"/>
    <p:sldId id="313" r:id="rId29"/>
    <p:sldId id="314" r:id="rId30"/>
    <p:sldId id="315" r:id="rId31"/>
    <p:sldId id="317" r:id="rId32"/>
    <p:sldId id="318" r:id="rId33"/>
    <p:sldId id="334" r:id="rId34"/>
    <p:sldId id="335" r:id="rId35"/>
    <p:sldId id="337" r:id="rId36"/>
    <p:sldId id="340" r:id="rId37"/>
    <p:sldId id="341" r:id="rId38"/>
    <p:sldId id="342" r:id="rId39"/>
    <p:sldId id="343" r:id="rId40"/>
    <p:sldId id="344" r:id="rId41"/>
    <p:sldId id="399" r:id="rId42"/>
    <p:sldId id="400" r:id="rId43"/>
    <p:sldId id="381" r:id="rId44"/>
    <p:sldId id="382" r:id="rId45"/>
    <p:sldId id="383" r:id="rId46"/>
    <p:sldId id="384" r:id="rId47"/>
    <p:sldId id="385" r:id="rId48"/>
    <p:sldId id="386" r:id="rId49"/>
    <p:sldId id="387" r:id="rId50"/>
    <p:sldId id="388" r:id="rId51"/>
    <p:sldId id="389" r:id="rId52"/>
    <p:sldId id="390" r:id="rId53"/>
    <p:sldId id="391" r:id="rId54"/>
    <p:sldId id="392" r:id="rId55"/>
    <p:sldId id="393" r:id="rId56"/>
    <p:sldId id="394" r:id="rId57"/>
    <p:sldId id="395" r:id="rId58"/>
    <p:sldId id="396" r:id="rId59"/>
    <p:sldId id="397" r:id="rId60"/>
    <p:sldId id="398" r:id="rId61"/>
    <p:sldId id="363" r:id="rId62"/>
  </p:sldIdLst>
  <p:sldSz cx="9144000" cy="6858000" type="screen4x3"/>
  <p:notesSz cx="6808788" cy="99409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800AF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75429" autoAdjust="0"/>
  </p:normalViewPr>
  <p:slideViewPr>
    <p:cSldViewPr>
      <p:cViewPr varScale="1">
        <p:scale>
          <a:sx n="88" d="100"/>
          <a:sy n="88" d="100"/>
        </p:scale>
        <p:origin x="-1380" y="-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61" Type="http://schemas.openxmlformats.org/officeDocument/2006/relationships/slide" Target="slides/slide56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slide" Target="slides/slide5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7046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8" y="0"/>
            <a:ext cx="2950475" cy="497046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r">
              <a:defRPr sz="1200"/>
            </a:lvl1pPr>
          </a:lstStyle>
          <a:p>
            <a:fld id="{C7A80CD0-6230-454B-A9F3-920942FCE089}" type="datetimeFigureOut">
              <a:rPr lang="en-GB" smtClean="0"/>
              <a:t>30/11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7288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30" tIns="46415" rIns="92830" bIns="46415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21940"/>
            <a:ext cx="5447030" cy="4473416"/>
          </a:xfrm>
          <a:prstGeom prst="rect">
            <a:avLst/>
          </a:prstGeom>
        </p:spPr>
        <p:txBody>
          <a:bodyPr vert="horz" lIns="92830" tIns="46415" rIns="92830" bIns="46415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7046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8" y="9442154"/>
            <a:ext cx="2950475" cy="497046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r">
              <a:defRPr sz="1200"/>
            </a:lvl1pPr>
          </a:lstStyle>
          <a:p>
            <a:fld id="{EAFF877B-3C31-43DE-82ED-F99336DE8D8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6696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1EFAA-8E22-4C45-B713-C0056DF19E0B}" type="slidenum">
              <a:rPr lang="en-GB" smtClean="0">
                <a:solidFill>
                  <a:prstClr val="black"/>
                </a:solidFill>
              </a:rPr>
              <a:pPr/>
              <a:t>20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2114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1EFAA-8E22-4C45-B713-C0056DF19E0B}" type="slidenum">
              <a:rPr lang="en-GB" smtClean="0">
                <a:solidFill>
                  <a:prstClr val="black"/>
                </a:solidFill>
              </a:rPr>
              <a:pPr/>
              <a:t>2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2114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1EFAA-8E22-4C45-B713-C0056DF19E0B}" type="slidenum">
              <a:rPr lang="en-GB" smtClean="0">
                <a:solidFill>
                  <a:prstClr val="black"/>
                </a:solidFill>
              </a:rPr>
              <a:pPr/>
              <a:t>2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21145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1EFAA-8E22-4C45-B713-C0056DF19E0B}" type="slidenum">
              <a:rPr lang="en-GB" smtClean="0">
                <a:solidFill>
                  <a:prstClr val="black"/>
                </a:solidFill>
              </a:rPr>
              <a:pPr/>
              <a:t>2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21145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1EFAA-8E22-4C45-B713-C0056DF19E0B}" type="slidenum">
              <a:rPr lang="en-GB" smtClean="0">
                <a:solidFill>
                  <a:prstClr val="black"/>
                </a:solidFill>
              </a:rPr>
              <a:pPr/>
              <a:t>2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21145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1EFAA-8E22-4C45-B713-C0056DF19E0B}" type="slidenum">
              <a:rPr lang="en-GB" smtClean="0">
                <a:solidFill>
                  <a:prstClr val="black"/>
                </a:solidFill>
              </a:rPr>
              <a:pPr/>
              <a:t>2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21145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1EFAA-8E22-4C45-B713-C0056DF19E0B}" type="slidenum">
              <a:rPr lang="en-GB" smtClean="0">
                <a:solidFill>
                  <a:prstClr val="black"/>
                </a:solidFill>
              </a:rPr>
              <a:pPr/>
              <a:t>2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21145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1EFAA-8E22-4C45-B713-C0056DF19E0B}" type="slidenum">
              <a:rPr lang="en-GB" smtClean="0">
                <a:solidFill>
                  <a:prstClr val="black"/>
                </a:solidFill>
              </a:rPr>
              <a:pPr/>
              <a:t>2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21145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A1EFAA-8E22-4C45-B713-C0056DF19E0B}" type="slidenum">
              <a:rPr lang="en-GB" smtClean="0">
                <a:solidFill>
                  <a:prstClr val="black"/>
                </a:solidFill>
              </a:rPr>
              <a:pPr/>
              <a:t>2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21145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52423-81BB-44B0-85EE-1236C9E05974}" type="slidenum">
              <a:rPr lang="en-GB" smtClean="0">
                <a:solidFill>
                  <a:prstClr val="black"/>
                </a:solidFill>
              </a:rPr>
              <a:pPr/>
              <a:t>2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30574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52423-81BB-44B0-85EE-1236C9E05974}" type="slidenum">
              <a:rPr lang="en-GB" smtClean="0">
                <a:solidFill>
                  <a:prstClr val="black"/>
                </a:solidFill>
              </a:rPr>
              <a:pPr/>
              <a:t>30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3057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52423-81BB-44B0-85EE-1236C9E05974}" type="slidenum">
              <a:rPr lang="en-GB" smtClean="0">
                <a:solidFill>
                  <a:prstClr val="black"/>
                </a:solidFill>
              </a:rPr>
              <a:pPr/>
              <a:t>3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30574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52423-81BB-44B0-85EE-1236C9E05974}" type="slidenum">
              <a:rPr lang="en-GB" smtClean="0">
                <a:solidFill>
                  <a:prstClr val="black"/>
                </a:solidFill>
              </a:rPr>
              <a:pPr/>
              <a:t>3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30574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552423-81BB-44B0-85EE-1236C9E05974}" type="slidenum">
              <a:rPr lang="en-GB" smtClean="0">
                <a:solidFill>
                  <a:prstClr val="black"/>
                </a:solidFill>
              </a:rPr>
              <a:pPr/>
              <a:t>3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30574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/>
          </a:p>
        </p:txBody>
      </p:sp>
      <p:sp>
        <p:nvSpPr>
          <p:cNvPr id="2662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E05ED80-6528-4B64-9BCB-DEAAFA13911E}" type="slidenum">
              <a:rPr lang="en-GB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4</a:t>
            </a:fld>
            <a:endParaRPr lang="en-GB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/>
          </a:p>
        </p:txBody>
      </p:sp>
      <p:sp>
        <p:nvSpPr>
          <p:cNvPr id="2662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E05ED80-6528-4B64-9BCB-DEAAFA13911E}" type="slidenum">
              <a:rPr lang="en-GB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5</a:t>
            </a:fld>
            <a:endParaRPr lang="en-GB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/>
          </a:p>
        </p:txBody>
      </p:sp>
      <p:sp>
        <p:nvSpPr>
          <p:cNvPr id="2662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E05ED80-6528-4B64-9BCB-DEAAFA13911E}" type="slidenum">
              <a:rPr lang="en-GB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6</a:t>
            </a:fld>
            <a:endParaRPr lang="en-GB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/>
          </a:p>
        </p:txBody>
      </p:sp>
      <p:sp>
        <p:nvSpPr>
          <p:cNvPr id="2662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E05ED80-6528-4B64-9BCB-DEAAFA13911E}" type="slidenum">
              <a:rPr lang="en-GB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7</a:t>
            </a:fld>
            <a:endParaRPr lang="en-GB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/>
          </a:p>
        </p:txBody>
      </p:sp>
      <p:sp>
        <p:nvSpPr>
          <p:cNvPr id="2662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E05ED80-6528-4B64-9BCB-DEAAFA13911E}" type="slidenum">
              <a:rPr lang="en-GB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8</a:t>
            </a:fld>
            <a:endParaRPr lang="en-GB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40AE0-B05D-4CD8-BC9B-D8E8E536EDCE}" type="slidenum">
              <a:rPr lang="en-GB">
                <a:solidFill>
                  <a:prstClr val="black"/>
                </a:solidFill>
              </a:rPr>
              <a:pPr/>
              <a:t>3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01592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Calibri" pitchFamily="34" charset="0"/>
              <a:buNone/>
            </a:pPr>
            <a:fld id="{616EB4CE-72CE-4310-B4AE-C17785DAD34E}" type="slidenum">
              <a:rPr lang="en-GB">
                <a:solidFill>
                  <a:prstClr val="black"/>
                </a:solidFill>
                <a:ea typeface="ＭＳ Ｐゴシック"/>
                <a:cs typeface="ＭＳ Ｐゴシック"/>
              </a:rPr>
              <a:pPr>
                <a:buFont typeface="Calibri" pitchFamily="34" charset="0"/>
                <a:buNone/>
              </a:pPr>
              <a:t>40</a:t>
            </a:fld>
            <a:endParaRPr lang="en-GB">
              <a:solidFill>
                <a:prstClr val="black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638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7288" cy="3727450"/>
          </a:xfrm>
          <a:solidFill>
            <a:srgbClr val="FFFFFF"/>
          </a:solidFill>
          <a:ln/>
        </p:spPr>
      </p:sp>
      <p:sp>
        <p:nvSpPr>
          <p:cNvPr id="1638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0879" y="4721939"/>
            <a:ext cx="5447030" cy="4376769"/>
          </a:xfrm>
          <a:noFill/>
          <a:ln/>
        </p:spPr>
        <p:txBody>
          <a:bodyPr wrap="none" anchor="ctr"/>
          <a:lstStyle/>
          <a:p>
            <a:endParaRPr lang="en-US" dirty="0" smtClean="0">
              <a:latin typeface="Times New Roman" pitchFamily="18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Calibri" pitchFamily="34" charset="0"/>
              <a:buNone/>
            </a:pPr>
            <a:fld id="{616EB4CE-72CE-4310-B4AE-C17785DAD34E}" type="slidenum">
              <a:rPr lang="en-GB">
                <a:solidFill>
                  <a:prstClr val="black"/>
                </a:solidFill>
                <a:ea typeface="ＭＳ Ｐゴシック"/>
                <a:cs typeface="ＭＳ Ｐゴシック"/>
              </a:rPr>
              <a:pPr>
                <a:buFont typeface="Calibri" pitchFamily="34" charset="0"/>
                <a:buNone/>
              </a:pPr>
              <a:t>41</a:t>
            </a:fld>
            <a:endParaRPr lang="en-GB">
              <a:solidFill>
                <a:prstClr val="black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638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7288" cy="3727450"/>
          </a:xfrm>
          <a:solidFill>
            <a:srgbClr val="FFFFFF"/>
          </a:solidFill>
          <a:ln/>
        </p:spPr>
      </p:sp>
      <p:sp>
        <p:nvSpPr>
          <p:cNvPr id="1638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0879" y="4721939"/>
            <a:ext cx="5447030" cy="4376769"/>
          </a:xfrm>
          <a:noFill/>
          <a:ln/>
        </p:spPr>
        <p:txBody>
          <a:bodyPr wrap="none" anchor="ctr"/>
          <a:lstStyle/>
          <a:p>
            <a:endParaRPr lang="en-US" dirty="0" smtClean="0">
              <a:latin typeface="Times New Roman" pitchFamily="18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Calibri" pitchFamily="34" charset="0"/>
              <a:buNone/>
            </a:pPr>
            <a:fld id="{616EB4CE-72CE-4310-B4AE-C17785DAD34E}" type="slidenum">
              <a:rPr lang="en-GB">
                <a:solidFill>
                  <a:prstClr val="black"/>
                </a:solidFill>
                <a:ea typeface="ＭＳ Ｐゴシック"/>
                <a:cs typeface="ＭＳ Ｐゴシック"/>
              </a:rPr>
              <a:pPr>
                <a:buFont typeface="Calibri" pitchFamily="34" charset="0"/>
                <a:buNone/>
              </a:pPr>
              <a:t>42</a:t>
            </a:fld>
            <a:endParaRPr lang="en-GB">
              <a:solidFill>
                <a:prstClr val="black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638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7288" cy="3727450"/>
          </a:xfrm>
          <a:solidFill>
            <a:srgbClr val="FFFFFF"/>
          </a:solidFill>
          <a:ln/>
        </p:spPr>
      </p:sp>
      <p:sp>
        <p:nvSpPr>
          <p:cNvPr id="1638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0879" y="4721939"/>
            <a:ext cx="5447030" cy="4376769"/>
          </a:xfrm>
          <a:noFill/>
          <a:ln/>
        </p:spPr>
        <p:txBody>
          <a:bodyPr wrap="none" anchor="ctr"/>
          <a:lstStyle/>
          <a:p>
            <a:endParaRPr lang="en-US" dirty="0" smtClean="0">
              <a:latin typeface="Times New Roman" pitchFamily="18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Calibri" pitchFamily="34" charset="0"/>
              <a:buNone/>
            </a:pPr>
            <a:fld id="{616EB4CE-72CE-4310-B4AE-C17785DAD34E}" type="slidenum">
              <a:rPr lang="en-GB">
                <a:solidFill>
                  <a:prstClr val="black"/>
                </a:solidFill>
                <a:ea typeface="ＭＳ Ｐゴシック"/>
                <a:cs typeface="ＭＳ Ｐゴシック"/>
              </a:rPr>
              <a:pPr>
                <a:buFont typeface="Calibri" pitchFamily="34" charset="0"/>
                <a:buNone/>
              </a:pPr>
              <a:t>43</a:t>
            </a:fld>
            <a:endParaRPr lang="en-GB">
              <a:solidFill>
                <a:prstClr val="black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638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7288" cy="3727450"/>
          </a:xfrm>
          <a:solidFill>
            <a:srgbClr val="FFFFFF"/>
          </a:solidFill>
          <a:ln/>
        </p:spPr>
      </p:sp>
      <p:sp>
        <p:nvSpPr>
          <p:cNvPr id="1638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0879" y="4721939"/>
            <a:ext cx="5447030" cy="4376769"/>
          </a:xfrm>
          <a:noFill/>
          <a:ln/>
        </p:spPr>
        <p:txBody>
          <a:bodyPr wrap="none" anchor="ctr"/>
          <a:lstStyle/>
          <a:p>
            <a:endParaRPr lang="en-US" dirty="0" smtClean="0">
              <a:latin typeface="Times New Roman" pitchFamily="18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Calibri" pitchFamily="34" charset="0"/>
              <a:buNone/>
            </a:pPr>
            <a:fld id="{616EB4CE-72CE-4310-B4AE-C17785DAD34E}" type="slidenum">
              <a:rPr lang="en-GB">
                <a:solidFill>
                  <a:prstClr val="black"/>
                </a:solidFill>
                <a:ea typeface="ＭＳ Ｐゴシック"/>
                <a:cs typeface="ＭＳ Ｐゴシック"/>
              </a:rPr>
              <a:pPr>
                <a:buFont typeface="Calibri" pitchFamily="34" charset="0"/>
                <a:buNone/>
              </a:pPr>
              <a:t>44</a:t>
            </a:fld>
            <a:endParaRPr lang="en-GB">
              <a:solidFill>
                <a:prstClr val="black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638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7288" cy="3727450"/>
          </a:xfrm>
          <a:solidFill>
            <a:srgbClr val="FFFFFF"/>
          </a:solidFill>
          <a:ln/>
        </p:spPr>
      </p:sp>
      <p:sp>
        <p:nvSpPr>
          <p:cNvPr id="1638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0879" y="4721939"/>
            <a:ext cx="5447030" cy="4376769"/>
          </a:xfrm>
          <a:noFill/>
          <a:ln/>
        </p:spPr>
        <p:txBody>
          <a:bodyPr wrap="none" anchor="ctr"/>
          <a:lstStyle/>
          <a:p>
            <a:endParaRPr lang="en-US" dirty="0" smtClean="0">
              <a:latin typeface="Times New Roman" pitchFamily="18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Calibri" pitchFamily="34" charset="0"/>
              <a:buNone/>
            </a:pPr>
            <a:fld id="{616EB4CE-72CE-4310-B4AE-C17785DAD34E}" type="slidenum">
              <a:rPr lang="en-GB">
                <a:solidFill>
                  <a:prstClr val="black"/>
                </a:solidFill>
                <a:ea typeface="ＭＳ Ｐゴシック"/>
                <a:cs typeface="ＭＳ Ｐゴシック"/>
              </a:rPr>
              <a:pPr>
                <a:buFont typeface="Calibri" pitchFamily="34" charset="0"/>
                <a:buNone/>
              </a:pPr>
              <a:t>45</a:t>
            </a:fld>
            <a:endParaRPr lang="en-GB">
              <a:solidFill>
                <a:prstClr val="black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638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7288" cy="3727450"/>
          </a:xfrm>
          <a:solidFill>
            <a:srgbClr val="FFFFFF"/>
          </a:solidFill>
          <a:ln/>
        </p:spPr>
      </p:sp>
      <p:sp>
        <p:nvSpPr>
          <p:cNvPr id="1638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0879" y="4721939"/>
            <a:ext cx="5447030" cy="4376769"/>
          </a:xfrm>
          <a:noFill/>
          <a:ln/>
        </p:spPr>
        <p:txBody>
          <a:bodyPr wrap="none" anchor="ctr"/>
          <a:lstStyle/>
          <a:p>
            <a:endParaRPr lang="en-US" dirty="0" smtClean="0">
              <a:latin typeface="Times New Roman" pitchFamily="18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Calibri" pitchFamily="34" charset="0"/>
              <a:buNone/>
            </a:pPr>
            <a:fld id="{616EB4CE-72CE-4310-B4AE-C17785DAD34E}" type="slidenum">
              <a:rPr lang="en-GB" smtClean="0">
                <a:solidFill>
                  <a:prstClr val="black"/>
                </a:solidFill>
                <a:ea typeface="ＭＳ Ｐゴシック"/>
                <a:cs typeface="ＭＳ Ｐゴシック"/>
              </a:rPr>
              <a:pPr>
                <a:buFont typeface="Calibri" pitchFamily="34" charset="0"/>
                <a:buNone/>
              </a:pPr>
              <a:t>46</a:t>
            </a:fld>
            <a:endParaRPr lang="en-GB" smtClean="0">
              <a:solidFill>
                <a:prstClr val="black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638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7288" cy="3727450"/>
          </a:xfrm>
          <a:solidFill>
            <a:srgbClr val="FFFFFF"/>
          </a:solidFill>
          <a:ln/>
        </p:spPr>
      </p:sp>
      <p:sp>
        <p:nvSpPr>
          <p:cNvPr id="1638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0879" y="4721939"/>
            <a:ext cx="5447030" cy="4376769"/>
          </a:xfrm>
          <a:noFill/>
          <a:ln/>
        </p:spPr>
        <p:txBody>
          <a:bodyPr wrap="none" anchor="ctr"/>
          <a:lstStyle/>
          <a:p>
            <a:pPr defTabSz="928299">
              <a:defRPr/>
            </a:pPr>
            <a:endParaRPr lang="en-US" dirty="0" smtClean="0">
              <a:latin typeface="Times New Roman" pitchFamily="18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Calibri" pitchFamily="34" charset="0"/>
              <a:buNone/>
            </a:pPr>
            <a:fld id="{616EB4CE-72CE-4310-B4AE-C17785DAD34E}" type="slidenum">
              <a:rPr lang="en-GB">
                <a:solidFill>
                  <a:prstClr val="black"/>
                </a:solidFill>
                <a:ea typeface="ＭＳ Ｐゴシック"/>
                <a:cs typeface="ＭＳ Ｐゴシック"/>
              </a:rPr>
              <a:pPr>
                <a:buFont typeface="Calibri" pitchFamily="34" charset="0"/>
                <a:buNone/>
              </a:pPr>
              <a:t>47</a:t>
            </a:fld>
            <a:endParaRPr lang="en-GB">
              <a:solidFill>
                <a:prstClr val="black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638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7288" cy="3727450"/>
          </a:xfrm>
          <a:solidFill>
            <a:srgbClr val="FFFFFF"/>
          </a:solidFill>
          <a:ln/>
        </p:spPr>
      </p:sp>
      <p:sp>
        <p:nvSpPr>
          <p:cNvPr id="1638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0879" y="4721939"/>
            <a:ext cx="5447030" cy="4376769"/>
          </a:xfrm>
          <a:noFill/>
          <a:ln/>
        </p:spPr>
        <p:txBody>
          <a:bodyPr wrap="none" anchor="ctr"/>
          <a:lstStyle/>
          <a:p>
            <a:endParaRPr lang="en-US" dirty="0" smtClean="0">
              <a:latin typeface="Times New Roman" pitchFamily="18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Calibri" pitchFamily="34" charset="0"/>
              <a:buNone/>
            </a:pPr>
            <a:fld id="{616EB4CE-72CE-4310-B4AE-C17785DAD34E}" type="slidenum">
              <a:rPr lang="en-GB">
                <a:solidFill>
                  <a:prstClr val="black"/>
                </a:solidFill>
                <a:ea typeface="ＭＳ Ｐゴシック"/>
                <a:cs typeface="ＭＳ Ｐゴシック"/>
              </a:rPr>
              <a:pPr>
                <a:buFont typeface="Calibri" pitchFamily="34" charset="0"/>
                <a:buNone/>
              </a:pPr>
              <a:t>48</a:t>
            </a:fld>
            <a:endParaRPr lang="en-GB">
              <a:solidFill>
                <a:prstClr val="black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638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7288" cy="3727450"/>
          </a:xfrm>
          <a:solidFill>
            <a:srgbClr val="FFFFFF"/>
          </a:solidFill>
          <a:ln/>
        </p:spPr>
      </p:sp>
      <p:sp>
        <p:nvSpPr>
          <p:cNvPr id="1638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0879" y="4721939"/>
            <a:ext cx="5447030" cy="4376769"/>
          </a:xfrm>
          <a:noFill/>
          <a:ln/>
        </p:spPr>
        <p:txBody>
          <a:bodyPr wrap="none" anchor="ctr"/>
          <a:lstStyle/>
          <a:p>
            <a:endParaRPr lang="en-US" dirty="0" smtClean="0">
              <a:latin typeface="Times New Roman" pitchFamily="18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Calibri" pitchFamily="34" charset="0"/>
              <a:buNone/>
            </a:pPr>
            <a:fld id="{616EB4CE-72CE-4310-B4AE-C17785DAD34E}" type="slidenum">
              <a:rPr lang="en-GB">
                <a:solidFill>
                  <a:prstClr val="black"/>
                </a:solidFill>
                <a:ea typeface="ＭＳ Ｐゴシック"/>
                <a:cs typeface="ＭＳ Ｐゴシック"/>
              </a:rPr>
              <a:pPr>
                <a:buFont typeface="Calibri" pitchFamily="34" charset="0"/>
                <a:buNone/>
              </a:pPr>
              <a:t>51</a:t>
            </a:fld>
            <a:endParaRPr lang="en-GB">
              <a:solidFill>
                <a:prstClr val="black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638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7288" cy="3727450"/>
          </a:xfrm>
          <a:solidFill>
            <a:srgbClr val="FFFFFF"/>
          </a:solidFill>
          <a:ln/>
        </p:spPr>
      </p:sp>
      <p:sp>
        <p:nvSpPr>
          <p:cNvPr id="1638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0879" y="4721939"/>
            <a:ext cx="5447030" cy="4376769"/>
          </a:xfrm>
          <a:noFill/>
          <a:ln/>
        </p:spPr>
        <p:txBody>
          <a:bodyPr wrap="none" anchor="ctr"/>
          <a:lstStyle/>
          <a:p>
            <a:endParaRPr lang="en-US" dirty="0" smtClean="0">
              <a:latin typeface="Times New Roman" pitchFamily="18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Calibri" pitchFamily="34" charset="0"/>
              <a:buNone/>
            </a:pPr>
            <a:fld id="{616EB4CE-72CE-4310-B4AE-C17785DAD34E}" type="slidenum">
              <a:rPr lang="en-GB">
                <a:solidFill>
                  <a:prstClr val="black"/>
                </a:solidFill>
                <a:ea typeface="ＭＳ Ｐゴシック"/>
                <a:cs typeface="ＭＳ Ｐゴシック"/>
              </a:rPr>
              <a:pPr>
                <a:buFont typeface="Calibri" pitchFamily="34" charset="0"/>
                <a:buNone/>
              </a:pPr>
              <a:t>52</a:t>
            </a:fld>
            <a:endParaRPr lang="en-GB">
              <a:solidFill>
                <a:prstClr val="black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638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7288" cy="3727450"/>
          </a:xfrm>
          <a:solidFill>
            <a:srgbClr val="FFFFFF"/>
          </a:solidFill>
          <a:ln/>
        </p:spPr>
      </p:sp>
      <p:sp>
        <p:nvSpPr>
          <p:cNvPr id="1638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0879" y="4721939"/>
            <a:ext cx="5447030" cy="4376769"/>
          </a:xfrm>
          <a:noFill/>
          <a:ln/>
        </p:spPr>
        <p:txBody>
          <a:bodyPr wrap="none" anchor="ctr"/>
          <a:lstStyle/>
          <a:p>
            <a:endParaRPr lang="en-US" dirty="0" smtClean="0">
              <a:latin typeface="Times New Roman" pitchFamily="18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Calibri" pitchFamily="34" charset="0"/>
              <a:buNone/>
            </a:pPr>
            <a:fld id="{616EB4CE-72CE-4310-B4AE-C17785DAD34E}" type="slidenum">
              <a:rPr lang="en-GB">
                <a:solidFill>
                  <a:prstClr val="black"/>
                </a:solidFill>
                <a:ea typeface="ＭＳ Ｐゴシック"/>
                <a:cs typeface="ＭＳ Ｐゴシック"/>
              </a:rPr>
              <a:pPr>
                <a:buFont typeface="Calibri" pitchFamily="34" charset="0"/>
                <a:buNone/>
              </a:pPr>
              <a:t>53</a:t>
            </a:fld>
            <a:endParaRPr lang="en-GB">
              <a:solidFill>
                <a:prstClr val="black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638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7288" cy="3727450"/>
          </a:xfrm>
          <a:solidFill>
            <a:srgbClr val="FFFFFF"/>
          </a:solidFill>
          <a:ln/>
        </p:spPr>
      </p:sp>
      <p:sp>
        <p:nvSpPr>
          <p:cNvPr id="1638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0879" y="4721939"/>
            <a:ext cx="5447030" cy="4376769"/>
          </a:xfrm>
          <a:noFill/>
          <a:ln/>
        </p:spPr>
        <p:txBody>
          <a:bodyPr wrap="none" anchor="ctr"/>
          <a:lstStyle/>
          <a:p>
            <a:endParaRPr lang="en-US" dirty="0" smtClean="0">
              <a:latin typeface="Times New Roman" pitchFamily="18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Calibri" pitchFamily="34" charset="0"/>
              <a:buNone/>
            </a:pPr>
            <a:fld id="{616EB4CE-72CE-4310-B4AE-C17785DAD34E}" type="slidenum">
              <a:rPr lang="en-GB">
                <a:solidFill>
                  <a:prstClr val="black"/>
                </a:solidFill>
                <a:ea typeface="ＭＳ Ｐゴシック"/>
                <a:cs typeface="ＭＳ Ｐゴシック"/>
              </a:rPr>
              <a:pPr>
                <a:buFont typeface="Calibri" pitchFamily="34" charset="0"/>
                <a:buNone/>
              </a:pPr>
              <a:t>54</a:t>
            </a:fld>
            <a:endParaRPr lang="en-GB">
              <a:solidFill>
                <a:prstClr val="black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638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7288" cy="3727450"/>
          </a:xfrm>
          <a:solidFill>
            <a:srgbClr val="FFFFFF"/>
          </a:solidFill>
          <a:ln/>
        </p:spPr>
      </p:sp>
      <p:sp>
        <p:nvSpPr>
          <p:cNvPr id="1638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0879" y="4721939"/>
            <a:ext cx="5447030" cy="4376769"/>
          </a:xfrm>
          <a:noFill/>
          <a:ln/>
        </p:spPr>
        <p:txBody>
          <a:bodyPr wrap="none" anchor="ctr"/>
          <a:lstStyle/>
          <a:p>
            <a:endParaRPr lang="en-US" dirty="0" smtClean="0">
              <a:latin typeface="Times New Roman" pitchFamily="18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Calibri" pitchFamily="34" charset="0"/>
              <a:buNone/>
            </a:pPr>
            <a:fld id="{616EB4CE-72CE-4310-B4AE-C17785DAD34E}" type="slidenum">
              <a:rPr lang="en-GB">
                <a:solidFill>
                  <a:prstClr val="black"/>
                </a:solidFill>
                <a:ea typeface="ＭＳ Ｐゴシック"/>
                <a:cs typeface="ＭＳ Ｐゴシック"/>
              </a:rPr>
              <a:pPr>
                <a:buFont typeface="Calibri" pitchFamily="34" charset="0"/>
                <a:buNone/>
              </a:pPr>
              <a:t>55</a:t>
            </a:fld>
            <a:endParaRPr lang="en-GB">
              <a:solidFill>
                <a:prstClr val="black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638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7288" cy="3727450"/>
          </a:xfrm>
          <a:solidFill>
            <a:srgbClr val="FFFFFF"/>
          </a:solidFill>
          <a:ln/>
        </p:spPr>
      </p:sp>
      <p:sp>
        <p:nvSpPr>
          <p:cNvPr id="1638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0879" y="4721939"/>
            <a:ext cx="5447030" cy="4376769"/>
          </a:xfrm>
          <a:noFill/>
          <a:ln/>
        </p:spPr>
        <p:txBody>
          <a:bodyPr wrap="none" anchor="ctr"/>
          <a:lstStyle/>
          <a:p>
            <a:endParaRPr lang="en-US" dirty="0" smtClean="0">
              <a:latin typeface="Times New Roman" pitchFamily="18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Calibri" pitchFamily="34" charset="0"/>
              <a:buNone/>
            </a:pPr>
            <a:fld id="{616EB4CE-72CE-4310-B4AE-C17785DAD34E}" type="slidenum">
              <a:rPr lang="en-GB">
                <a:solidFill>
                  <a:prstClr val="black"/>
                </a:solidFill>
                <a:ea typeface="ＭＳ Ｐゴシック"/>
                <a:cs typeface="ＭＳ Ｐゴシック"/>
              </a:rPr>
              <a:pPr>
                <a:buFont typeface="Calibri" pitchFamily="34" charset="0"/>
                <a:buNone/>
              </a:pPr>
              <a:t>56</a:t>
            </a:fld>
            <a:endParaRPr lang="en-GB">
              <a:solidFill>
                <a:prstClr val="black"/>
              </a:solidFill>
              <a:ea typeface="ＭＳ Ｐゴシック"/>
              <a:cs typeface="ＭＳ Ｐゴシック"/>
            </a:endParaRPr>
          </a:p>
        </p:txBody>
      </p:sp>
      <p:sp>
        <p:nvSpPr>
          <p:cNvPr id="1638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6125"/>
            <a:ext cx="4967288" cy="3727450"/>
          </a:xfrm>
          <a:solidFill>
            <a:srgbClr val="FFFFFF"/>
          </a:solidFill>
          <a:ln/>
        </p:spPr>
      </p:sp>
      <p:sp>
        <p:nvSpPr>
          <p:cNvPr id="1638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80879" y="4721939"/>
            <a:ext cx="5447030" cy="4376769"/>
          </a:xfrm>
          <a:noFill/>
          <a:ln/>
        </p:spPr>
        <p:txBody>
          <a:bodyPr wrap="none" anchor="ctr"/>
          <a:lstStyle/>
          <a:p>
            <a:endParaRPr lang="en-US" dirty="0" smtClean="0">
              <a:latin typeface="Times New Roman" pitchFamily="18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solidFill>
                  <a:srgbClr val="000000"/>
                </a:solidFill>
                <a:latin typeface="Times New Roman" pitchFamily="16" charset="0"/>
                <a:ea typeface="ＭＳ Ｐゴシック" charset="0"/>
                <a:cs typeface="ＭＳ Ｐゴシック" charset="0"/>
              </a:rPr>
              <a:t>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>
              <a:defRPr/>
            </a:pPr>
            <a:fld id="{17CCC906-CE96-40E4-84CA-BFB19A6E439D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0305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FBA62-97AB-42AB-A8DA-B37DA275F32D}" type="datetimeFigureOut">
              <a:rPr lang="en-GB" smtClean="0"/>
              <a:t>30/11/20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75CF5-0156-4090-A25F-E4430E7FE14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37023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FBA62-97AB-42AB-A8DA-B37DA275F32D}" type="datetimeFigureOut">
              <a:rPr lang="en-GB" smtClean="0"/>
              <a:t>30/11/20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75CF5-0156-4090-A25F-E4430E7FE14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72576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FBA62-97AB-42AB-A8DA-B37DA275F32D}" type="datetimeFigureOut">
              <a:rPr lang="en-GB" smtClean="0"/>
              <a:t>30/11/20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75CF5-0156-4090-A25F-E4430E7FE14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39906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D919B-E773-4F52-B21A-A4E0C809705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AF55B1-3DE4-480E-8968-B5229B231CE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8098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-1306016" y="6336726"/>
            <a:ext cx="2133600" cy="365125"/>
          </a:xfrm>
        </p:spPr>
        <p:txBody>
          <a:bodyPr/>
          <a:lstStyle/>
          <a:p>
            <a:fld id="{EDAF55B1-3DE4-480E-8968-B5229B231CE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3257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D919B-E773-4F52-B21A-A4E0C809705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AF55B1-3DE4-480E-8968-B5229B231CE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8147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D919B-E773-4F52-B21A-A4E0C809705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AF55B1-3DE4-480E-8968-B5229B231CE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9770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D919B-E773-4F52-B21A-A4E0C809705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AF55B1-3DE4-480E-8968-B5229B231CE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358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D919B-E773-4F52-B21A-A4E0C809705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AF55B1-3DE4-480E-8968-B5229B231CE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1294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D919B-E773-4F52-B21A-A4E0C809705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AF55B1-3DE4-480E-8968-B5229B231CE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567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D919B-E773-4F52-B21A-A4E0C809705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AF55B1-3DE4-480E-8968-B5229B231CE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920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FBA62-97AB-42AB-A8DA-B37DA275F32D}" type="datetimeFigureOut">
              <a:rPr lang="en-GB" smtClean="0"/>
              <a:t>30/11/20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75CF5-0156-4090-A25F-E4430E7FE14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04949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D919B-E773-4F52-B21A-A4E0C809705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AF55B1-3DE4-480E-8968-B5229B231CE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7872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D919B-E773-4F52-B21A-A4E0C809705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AF55B1-3DE4-480E-8968-B5229B231CE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2169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D919B-E773-4F52-B21A-A4E0C809705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AF55B1-3DE4-480E-8968-B5229B231CE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1773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22E2F-A1A2-4F2F-AB2D-5A0736BE40DF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C2A43-A666-47C4-A412-7462E61E698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8434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22E2F-A1A2-4F2F-AB2D-5A0736BE40DF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C2A43-A666-47C4-A412-7462E61E698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692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22E2F-A1A2-4F2F-AB2D-5A0736BE40DF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C2A43-A666-47C4-A412-7462E61E698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869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22E2F-A1A2-4F2F-AB2D-5A0736BE40DF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C2A43-A666-47C4-A412-7462E61E698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046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22E2F-A1A2-4F2F-AB2D-5A0736BE40DF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C2A43-A666-47C4-A412-7462E61E698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010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22E2F-A1A2-4F2F-AB2D-5A0736BE40DF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C2A43-A666-47C4-A412-7462E61E698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635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22E2F-A1A2-4F2F-AB2D-5A0736BE40DF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C2A43-A666-47C4-A412-7462E61E698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62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FBA62-97AB-42AB-A8DA-B37DA275F32D}" type="datetimeFigureOut">
              <a:rPr lang="en-GB" smtClean="0"/>
              <a:t>30/11/20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75CF5-0156-4090-A25F-E4430E7FE14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8372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92562D4-299B-4F5C-B5D1-B06DD1C33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A895E418-D762-4A90-AC17-3D1397A775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22E2F-A1A2-4F2F-AB2D-5A0736BE40DF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2E31A18F-6A2F-4DAF-86C0-D5E761606D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143AC55D-4294-4F76-ABA0-FDC7C67973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C2A43-A666-47C4-A412-7462E61E698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86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22E2F-A1A2-4F2F-AB2D-5A0736BE40DF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C2A43-A666-47C4-A412-7462E61E698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04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22E2F-A1A2-4F2F-AB2D-5A0736BE40DF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C2A43-A666-47C4-A412-7462E61E698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276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22E2F-A1A2-4F2F-AB2D-5A0736BE40DF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C2A43-A666-47C4-A412-7462E61E698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253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B22E2F-A1A2-4F2F-AB2D-5A0736BE40DF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C2A43-A666-47C4-A412-7462E61E698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971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PlummO01\Desktop\KCC_Logo_New_2012_Framed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0288" y="5821363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6"/>
          <p:cNvCxnSpPr>
            <a:cxnSpLocks noChangeShapeType="1"/>
          </p:cNvCxnSpPr>
          <p:nvPr userDrawn="1"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>
            <a:normAutofit/>
          </a:bodyPr>
          <a:lstStyle>
            <a:lvl1pPr>
              <a:defRPr sz="3600" b="1">
                <a:solidFill>
                  <a:srgbClr val="4283C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982960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17942D3-5EC2-4CA6-9095-3D20850EEE41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45025E2-10ED-460C-B2D3-AC91319B7B47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0304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PlummO01\Desktop\KCC_Logo_New_2012_Framed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48650" y="62372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6"/>
          <p:cNvCxnSpPr>
            <a:cxnSpLocks noChangeShapeType="1"/>
          </p:cNvCxnSpPr>
          <p:nvPr userDrawn="1"/>
        </p:nvCxnSpPr>
        <p:spPr bwMode="auto">
          <a:xfrm>
            <a:off x="107950" y="6199188"/>
            <a:ext cx="896461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>
                <a:solidFill>
                  <a:srgbClr val="4283C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7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4DFECE3-B449-4FC6-AE8A-479A3CFDAE61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3457EB3-5F5B-4859-94AC-0BDC9CBE1DED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341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C23DCE5-FFDA-4C6F-96FA-5E663583BD0E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758826E-CE1E-40A6-BA5C-34F0530D0DA3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763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7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7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594ACFA-D74E-404C-9BD9-386CE2CB7E29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BA2F8BA-7FB0-483F-AFE9-12E4BF2F7CAA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0999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>
                <a:solidFill>
                  <a:srgbClr val="4283C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83899A9-4E3E-41BC-9EFF-42D4012E58E6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DFD5AF4-624D-4DD4-A21D-31807EB25284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38883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FBA62-97AB-42AB-A8DA-B37DA275F32D}" type="datetimeFigureOut">
              <a:rPr lang="en-GB" smtClean="0"/>
              <a:t>30/11/2017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75CF5-0156-4090-A25F-E4430E7FE14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9055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>
                <a:solidFill>
                  <a:srgbClr val="4283C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F75CE96-6386-419B-A06A-25D20130C127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439843A-D125-4ED3-AF79-9F3F87959579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7963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CBDDE60-2462-438A-8651-FB29F43CFA2A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CA9630C-B7F1-49C5-A324-2EEF51B9F59F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87256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7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5F1225D-2729-4856-99ED-E67A9DD1B11D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5C8B86C-DEFB-4902-A1CA-A33F0CBE4119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90954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80C310B-DFD9-42A6-913B-C196F7C311AB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2BDD9B7-BB51-43B5-BE61-99F13209191B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4359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BC80EB0-2782-4A52-8DF4-89110DEDA941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6ED6CE6-7216-400E-8167-353788D54AD1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6614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F2FC739-95EA-4510-BFF8-9480E67BAB50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C67DA10-5351-4CEA-8985-8102B5B7664F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341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PlummO01\Desktop\KCC_Logo_New_2012_Framed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0288" y="5821363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6"/>
          <p:cNvCxnSpPr>
            <a:cxnSpLocks noChangeShapeType="1"/>
          </p:cNvCxnSpPr>
          <p:nvPr userDrawn="1"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>
            <a:normAutofit/>
          </a:bodyPr>
          <a:lstStyle>
            <a:lvl1pPr>
              <a:defRPr sz="3600" b="1">
                <a:solidFill>
                  <a:srgbClr val="4283C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982960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17942D3-5EC2-4CA6-9095-3D20850EEE41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45025E2-10ED-460C-B2D3-AC91319B7B47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8904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Documents and Settings\PlummO01\Desktop\KCC_Logo_New_2012_Framed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48650" y="62372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6"/>
          <p:cNvCxnSpPr>
            <a:cxnSpLocks noChangeShapeType="1"/>
          </p:cNvCxnSpPr>
          <p:nvPr userDrawn="1"/>
        </p:nvCxnSpPr>
        <p:spPr bwMode="auto">
          <a:xfrm>
            <a:off x="107950" y="6199188"/>
            <a:ext cx="8964613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>
                <a:solidFill>
                  <a:srgbClr val="4283C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7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4DFECE3-B449-4FC6-AE8A-479A3CFDAE61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3457EB3-5F5B-4859-94AC-0BDC9CBE1DED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0702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C23DCE5-FFDA-4C6F-96FA-5E663583BD0E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758826E-CE1E-40A6-BA5C-34F0530D0DA3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75886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7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7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594ACFA-D74E-404C-9BD9-386CE2CB7E29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BA2F8BA-7FB0-483F-AFE9-12E4BF2F7CAA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3360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FBA62-97AB-42AB-A8DA-B37DA275F32D}" type="datetimeFigureOut">
              <a:rPr lang="en-GB" smtClean="0"/>
              <a:t>30/11/2017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75CF5-0156-4090-A25F-E4430E7FE14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568549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>
                <a:solidFill>
                  <a:srgbClr val="4283C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83899A9-4E3E-41BC-9EFF-42D4012E58E6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DFD5AF4-624D-4DD4-A21D-31807EB25284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6013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>
                <a:solidFill>
                  <a:srgbClr val="4283C4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F75CE96-6386-419B-A06A-25D20130C127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439843A-D125-4ED3-AF79-9F3F87959579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28041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CBDDE60-2462-438A-8651-FB29F43CFA2A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FCA9630C-B7F1-49C5-A324-2EEF51B9F59F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3204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7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5F1225D-2729-4856-99ED-E67A9DD1B11D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5C8B86C-DEFB-4902-A1CA-A33F0CBE4119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56580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80C310B-DFD9-42A6-913B-C196F7C311AB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2BDD9B7-BB51-43B5-BE61-99F13209191B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61186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BC80EB0-2782-4A52-8DF4-89110DEDA941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86ED6CE6-7216-400E-8167-353788D54AD1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3808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F2FC739-95EA-4510-BFF8-9480E67BAB50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C67DA10-5351-4CEA-8985-8102B5B7664F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326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FBA62-97AB-42AB-A8DA-B37DA275F32D}" type="datetimeFigureOut">
              <a:rPr lang="en-GB" smtClean="0"/>
              <a:t>30/11/2017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75CF5-0156-4090-A25F-E4430E7FE14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97453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FBA62-97AB-42AB-A8DA-B37DA275F32D}" type="datetimeFigureOut">
              <a:rPr lang="en-GB" smtClean="0"/>
              <a:t>30/11/2017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75CF5-0156-4090-A25F-E4430E7FE14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84577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FBA62-97AB-42AB-A8DA-B37DA275F32D}" type="datetimeFigureOut">
              <a:rPr lang="en-GB" smtClean="0"/>
              <a:t>30/11/2017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75CF5-0156-4090-A25F-E4430E7FE14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29663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FBA62-97AB-42AB-A8DA-B37DA275F32D}" type="datetimeFigureOut">
              <a:rPr lang="en-GB" smtClean="0"/>
              <a:t>30/11/2017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775CF5-0156-4090-A25F-E4430E7FE14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4636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8FBA62-97AB-42AB-A8DA-B37DA275F32D}" type="datetimeFigureOut">
              <a:rPr lang="en-GB" smtClean="0"/>
              <a:t>30/11/20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775CF5-0156-4090-A25F-E4430E7FE14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6924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AD919B-E773-4F52-B21A-A4E0C809705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30/11/201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AF55B1-3DE4-480E-8968-B5229B231CE5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748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3DB22E2F-A1A2-4F2F-AB2D-5A0736BE40DF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457200"/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DBAC2A43-A666-47C4-A412-7462E61E6988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04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734799F-4268-4EC8-BD35-AD78BCD79C62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A4BC50A-3A69-46D9-983C-2787DDA65208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072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b="1" kern="1200">
          <a:solidFill>
            <a:srgbClr val="4283C4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4283C4"/>
          </a:solidFill>
          <a:latin typeface="Arial" charset="0"/>
          <a:cs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4283C4"/>
          </a:solidFill>
          <a:latin typeface="Arial" charset="0"/>
          <a:cs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4283C4"/>
          </a:solidFill>
          <a:latin typeface="Arial" charset="0"/>
          <a:cs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4283C4"/>
          </a:solidFill>
          <a:latin typeface="Arial" charset="0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4283C4"/>
          </a:solidFill>
          <a:latin typeface="Arial" charset="0"/>
          <a:cs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4283C4"/>
          </a:solidFill>
          <a:latin typeface="Arial" charset="0"/>
          <a:cs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4283C4"/>
          </a:solidFill>
          <a:latin typeface="Arial" charset="0"/>
          <a:cs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4283C4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F734799F-4268-4EC8-BD35-AD78BCD79C62}" type="datetimeFigureOut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/11/20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A4BC50A-3A69-46D9-983C-2787DDA65208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787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b="1" kern="1200">
          <a:solidFill>
            <a:srgbClr val="4283C4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4283C4"/>
          </a:solidFill>
          <a:latin typeface="Arial" charset="0"/>
          <a:cs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4283C4"/>
          </a:solidFill>
          <a:latin typeface="Arial" charset="0"/>
          <a:cs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4283C4"/>
          </a:solidFill>
          <a:latin typeface="Arial" charset="0"/>
          <a:cs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4283C4"/>
          </a:solidFill>
          <a:latin typeface="Arial" charset="0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4283C4"/>
          </a:solidFill>
          <a:latin typeface="Arial" charset="0"/>
          <a:cs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4283C4"/>
          </a:solidFill>
          <a:latin typeface="Arial" charset="0"/>
          <a:cs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4283C4"/>
          </a:solidFill>
          <a:latin typeface="Arial" charset="0"/>
          <a:cs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4283C4"/>
          </a:solidFill>
          <a:latin typeface="Arial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7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mailto:hello@theeducationpeople.org" TargetMode="Externa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.png"/><Relationship Id="rId5" Type="http://schemas.openxmlformats.org/officeDocument/2006/relationships/hyperlink" Target="mailto:richard.hallett@kent.gov.uk" TargetMode="External"/><Relationship Id="rId4" Type="http://schemas.openxmlformats.org/officeDocument/2006/relationships/hyperlink" Target="mailto:graham.willett@kent.gov.uk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30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24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3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4.xml"/><Relationship Id="rId5" Type="http://schemas.openxmlformats.org/officeDocument/2006/relationships/hyperlink" Target="http://www.headstartkent.org.uk/" TargetMode="External"/><Relationship Id="rId4" Type="http://schemas.openxmlformats.org/officeDocument/2006/relationships/image" Target="../media/image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www.kelsi.org.uk/__data/assets/file/0007/19708/bg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hidden">
          <a:xfrm>
            <a:off x="0" y="-24243"/>
            <a:ext cx="9144000" cy="5733256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8520" y="1628800"/>
            <a:ext cx="9144000" cy="1944216"/>
          </a:xfrm>
        </p:spPr>
        <p:txBody>
          <a:bodyPr>
            <a:noAutofit/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l"/>
            <a:r>
              <a:rPr lang="en-GB" sz="11500" spc="300" dirty="0" smtClean="0">
                <a:ln w="11430"/>
                <a:solidFill>
                  <a:schemeClr val="bg1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+mj-lt"/>
              </a:rPr>
              <a:t>Headteacher Briefings</a:t>
            </a:r>
            <a:br>
              <a:rPr lang="en-GB" sz="11500" spc="300" dirty="0" smtClean="0">
                <a:ln w="11430"/>
                <a:solidFill>
                  <a:schemeClr val="bg1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+mj-lt"/>
              </a:rPr>
            </a:br>
            <a:r>
              <a:rPr lang="en-GB" sz="5400" spc="300" dirty="0" smtClean="0">
                <a:ln w="11430"/>
                <a:solidFill>
                  <a:schemeClr val="bg1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+mj-lt"/>
              </a:rPr>
              <a:t>November 2017</a:t>
            </a:r>
            <a:endParaRPr lang="en-GB" sz="5400" spc="300" dirty="0">
              <a:ln w="11430"/>
              <a:solidFill>
                <a:schemeClr val="bg1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76709" y="6021288"/>
            <a:ext cx="70756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2400" dirty="0" smtClean="0">
                <a:solidFill>
                  <a:prstClr val="black"/>
                </a:solidFill>
              </a:rPr>
              <a:t>Children, Young People and Education Services </a:t>
            </a:r>
            <a:endParaRPr lang="en-GB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522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6262" y="0"/>
            <a:ext cx="8228013" cy="1141412"/>
          </a:xfrm>
        </p:spPr>
        <p:txBody>
          <a:bodyPr>
            <a:normAutofit/>
          </a:bodyPr>
          <a:lstStyle/>
          <a:p>
            <a:pPr algn="l"/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do we compare to OLAs?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-180528" y="908720"/>
            <a:ext cx="8784976" cy="5040560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57250" lvl="1" indent="-457200">
              <a:buFont typeface="Arial" panose="020B0604020202020204" pitchFamily="34" charset="0"/>
              <a:buChar char="•"/>
            </a:pPr>
            <a:endParaRPr lang="en-GB" sz="3200" dirty="0" smtClean="0">
              <a:solidFill>
                <a:prstClr val="black"/>
              </a:solidFill>
            </a:endParaRP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GB" sz="3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average DSG per pupil increases from £4,145 to £4,452 </a:t>
            </a: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GB" sz="3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ranked position changes from 140 (out of 150) to 114, +26</a:t>
            </a: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GB" sz="3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were 8.8% below the national average, and we will still be 5.5% below</a:t>
            </a: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GB" sz="3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 we are gaining more than some but there is still some in-balance </a:t>
            </a:r>
          </a:p>
          <a:p>
            <a:pPr marL="0" indent="0">
              <a:buFont typeface="Arial" charset="0"/>
              <a:buNone/>
            </a:pPr>
            <a:r>
              <a:rPr lang="en-GB" kern="0" dirty="0" smtClean="0"/>
              <a:t>  </a:t>
            </a:r>
          </a:p>
          <a:p>
            <a:pPr marL="0" indent="0">
              <a:buFont typeface="Arial" charset="0"/>
              <a:buNone/>
            </a:pPr>
            <a:endParaRPr lang="en-GB" kern="0" dirty="0" smtClean="0"/>
          </a:p>
          <a:p>
            <a:endParaRPr lang="en-GB" kern="0" dirty="0" smtClean="0"/>
          </a:p>
          <a:p>
            <a:pPr lvl="1"/>
            <a:endParaRPr lang="en-GB" kern="0" dirty="0" smtClean="0"/>
          </a:p>
          <a:p>
            <a:pPr lvl="1"/>
            <a:endParaRPr lang="en-GB" kern="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kern="0" dirty="0"/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357492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6262" y="0"/>
            <a:ext cx="8228013" cy="908721"/>
          </a:xfrm>
        </p:spPr>
        <p:txBody>
          <a:bodyPr>
            <a:normAutofit/>
          </a:bodyPr>
          <a:lstStyle/>
          <a:p>
            <a:pPr algn="l"/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 </a:t>
            </a:r>
            <a:r>
              <a:rPr lang="en-GB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DSG per pupil by </a:t>
            </a:r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215091" y="908721"/>
            <a:ext cx="8784976" cy="4248472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endParaRPr lang="en-GB" kern="0" dirty="0"/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808838"/>
              </p:ext>
            </p:extLst>
          </p:nvPr>
        </p:nvGraphicFramePr>
        <p:xfrm>
          <a:off x="973005" y="908721"/>
          <a:ext cx="8028189" cy="45152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99597"/>
                <a:gridCol w="864096"/>
                <a:gridCol w="864096"/>
                <a:gridCol w="216024"/>
                <a:gridCol w="792088"/>
                <a:gridCol w="864096"/>
                <a:gridCol w="144016"/>
                <a:gridCol w="720080"/>
                <a:gridCol w="864096"/>
              </a:tblGrid>
              <a:tr h="617909">
                <a:tc>
                  <a:txBody>
                    <a:bodyPr/>
                    <a:lstStyle/>
                    <a:p>
                      <a:pPr algn="l" fontAlgn="ctr"/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Average DSG per pupils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Rank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% difference from overall average </a:t>
                      </a:r>
                      <a:br>
                        <a:rPr lang="en-GB" sz="1600" u="none" strike="noStrike" dirty="0">
                          <a:effectLst/>
                        </a:rPr>
                      </a:br>
                      <a:r>
                        <a:rPr lang="en-GB" sz="1600" u="none" strike="noStrike" dirty="0">
                          <a:effectLst/>
                        </a:rPr>
                        <a:t>DSG per pupil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987146">
                <a:tc>
                  <a:txBody>
                    <a:bodyPr/>
                    <a:lstStyle/>
                    <a:p>
                      <a:pPr algn="l" fontAlgn="ctr"/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2017-18 baseline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When NFF is fully imp.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2017-18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When NFF is fully imp.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2017-18 baseline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When NFF is fully imp.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1299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b="1" u="none" strike="noStrike" dirty="0">
                          <a:effectLst/>
                        </a:rPr>
                        <a:t>Overall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1" u="none" strike="noStrike" dirty="0">
                          <a:effectLst/>
                        </a:rPr>
                        <a:t>£4,544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600" b="1" u="none" strike="noStrike" dirty="0">
                          <a:effectLst/>
                        </a:rPr>
                        <a:t>£4,709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</a:tr>
              <a:tr h="21299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EAST MIDLANDS 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321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538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8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7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-4.9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-3.6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1299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EAST OF ENGLAND 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360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521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7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8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-4.0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-4.0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1299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INNER LONDON 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6,163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6,227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1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1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35.6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32.2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1299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NORTH EAST 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542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676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5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5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0.0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-0.7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1299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NORTH WEST 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559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691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4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4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0.3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-0.4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1299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OUTER LONDON 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875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5,031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2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2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7.3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6.8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1299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SOUTH EAST 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228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441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10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10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-7.0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-5.7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</a:tr>
              <a:tr h="21299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SOUTH WEST 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243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445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9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9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-6.6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-5.6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1299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WEST MIDLANDS 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564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695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3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3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0.4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-0.3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  <a:tr h="212999"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YORKSHIRE AND THE HUMBER 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503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£4,672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6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6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600" u="none" strike="noStrike" dirty="0">
                          <a:effectLst/>
                        </a:rPr>
                        <a:t> 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-0.9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GB" sz="1600" u="none" strike="noStrike" dirty="0">
                          <a:effectLst/>
                        </a:rPr>
                        <a:t>-0.8%</a:t>
                      </a:r>
                      <a:endParaRPr lang="en-GB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30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6262" y="49524"/>
            <a:ext cx="8228013" cy="1141412"/>
          </a:xfrm>
        </p:spPr>
        <p:txBody>
          <a:bodyPr>
            <a:normAutofit/>
          </a:bodyPr>
          <a:lstStyle/>
          <a:p>
            <a:pPr algn="l"/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l flexibility under Soft NFF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215091" y="1242955"/>
            <a:ext cx="8784976" cy="4418293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can continue to move funding from Schools Block to meet pressures in High Needs Block</a:t>
            </a: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ricted to 0.5% of Schools Block (c. £4.3m) but requires Forum approva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can choose a local Minimum Funding Guarantee rate of between 0% and -1.5% (stability v fairness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can introduce a Minimum Funding Level factor in our local funding formula</a:t>
            </a:r>
            <a:endParaRPr lang="en-GB" sz="3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en-GB" sz="3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0" indent="0">
              <a:buFont typeface="Arial" charset="0"/>
              <a:buNone/>
            </a:pPr>
            <a:endParaRPr lang="en-GB" sz="3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sz="3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sz="3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3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4022593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6262" y="49524"/>
            <a:ext cx="8228013" cy="1141412"/>
          </a:xfrm>
        </p:spPr>
        <p:txBody>
          <a:bodyPr>
            <a:normAutofit/>
          </a:bodyPr>
          <a:lstStyle/>
          <a:p>
            <a:pPr algn="l"/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issues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215091" y="908720"/>
            <a:ext cx="8784976" cy="4418293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FF lump sum rate is £10k lower than our current rat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FF rates for English as Additional Language pupils are significantly lower than our current rate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FF no longer includes a LAC factor, but the Pupil Premium Plus has increase from £1,900 to £2,300 per LAC pupil from 2018-19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FI factor will now be increased annually by RPIX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3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en-GB" sz="3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0" indent="0">
              <a:buFont typeface="Arial" charset="0"/>
              <a:buNone/>
            </a:pPr>
            <a:endParaRPr lang="en-GB" sz="3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sz="3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sz="3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3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2208421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6262" y="49524"/>
            <a:ext cx="8228013" cy="1141412"/>
          </a:xfrm>
        </p:spPr>
        <p:txBody>
          <a:bodyPr>
            <a:normAutofit/>
          </a:bodyPr>
          <a:lstStyle/>
          <a:p>
            <a:pPr algn="l"/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CC Consultation with Schools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197768" y="1124744"/>
            <a:ext cx="8784976" cy="4418293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unched on Monday 30 Octob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sed on Sunday 26 November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ation consisted of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ation document (word and pdf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vidual School Illustration Model (excel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ality Impact Assessment (EqIA) (word and pdf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ine response form – need to register to submi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3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en-GB" sz="3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0" indent="0">
              <a:buFont typeface="Arial" charset="0"/>
              <a:buNone/>
            </a:pPr>
            <a:endParaRPr lang="en-GB" sz="3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sz="3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sz="3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3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3416639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6262" y="49524"/>
            <a:ext cx="8228013" cy="1147228"/>
          </a:xfrm>
        </p:spPr>
        <p:txBody>
          <a:bodyPr>
            <a:noAutofit/>
          </a:bodyPr>
          <a:lstStyle/>
          <a:p>
            <a:pPr algn="l"/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ch overarching Principle should we look to follow?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197768" y="1700808"/>
            <a:ext cx="8784976" cy="4093299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buFont typeface="+mj-lt"/>
              <a:buAutoNum type="alphaLcParenR"/>
            </a:pPr>
            <a:r>
              <a:rPr lang="en-GB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uld we move towards the NFF factors and rates asap?</a:t>
            </a:r>
          </a:p>
          <a:p>
            <a:pPr marL="514350" indent="-514350">
              <a:buFont typeface="+mj-lt"/>
              <a:buAutoNum type="alphaLcParenR"/>
            </a:pPr>
            <a:r>
              <a:rPr lang="en-GB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uld we ignore NFF and focus on our local priorities, meaning a more even distribution?</a:t>
            </a:r>
          </a:p>
          <a:p>
            <a:pPr marL="514350" indent="-514350">
              <a:buFont typeface="+mj-lt"/>
              <a:buAutoNum type="alphaLcParenR"/>
            </a:pPr>
            <a:r>
              <a:rPr lang="en-GB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uld we look to move towards the NFF but also take into consideration local circumstances?</a:t>
            </a:r>
            <a:endParaRPr lang="en-GB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sz="32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sz="32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3455517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6262" y="0"/>
            <a:ext cx="8228013" cy="1141412"/>
          </a:xfrm>
        </p:spPr>
        <p:txBody>
          <a:bodyPr>
            <a:normAutofit/>
          </a:bodyPr>
          <a:lstStyle/>
          <a:p>
            <a:pPr algn="l"/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we went with option a)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215091" y="908721"/>
            <a:ext cx="8784976" cy="4248472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endParaRPr lang="en-GB" kern="0" dirty="0"/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90146366"/>
              </p:ext>
            </p:extLst>
          </p:nvPr>
        </p:nvGraphicFramePr>
        <p:xfrm>
          <a:off x="576263" y="980728"/>
          <a:ext cx="8013586" cy="434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5537"/>
                <a:gridCol w="1440160"/>
                <a:gridCol w="1172455"/>
                <a:gridCol w="1602717"/>
                <a:gridCol w="1602717"/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018-19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019-20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Remaining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Once</a:t>
                      </a:r>
                      <a:r>
                        <a:rPr lang="en-GB" baseline="0" dirty="0" smtClean="0"/>
                        <a:t> NFF fully imp.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Primary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2.27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1.87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0.30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4.45%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- Below 105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.29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0.79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0.32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.40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- Between 106 &amp; 140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.40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0.61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0.15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.16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- Between 141</a:t>
                      </a:r>
                      <a:r>
                        <a:rPr lang="en-GB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&amp; 175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.73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0.85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0.20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.78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- Between 176 &amp; 220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.05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0.89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0.28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3.23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- Between 221 &amp; 330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.09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.18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0.40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3.67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- Above</a:t>
                      </a:r>
                      <a:r>
                        <a:rPr lang="en-GB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331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.62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.74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0.29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5.65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Secondary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4.13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3.11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1.81%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9.06%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- Selective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7.45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4.39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-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11.83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- Non Selective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.86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.62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2.51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7.99%</a:t>
                      </a:r>
                      <a:endParaRPr lang="en-GB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5155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6262" y="49524"/>
            <a:ext cx="8228013" cy="1141412"/>
          </a:xfrm>
        </p:spPr>
        <p:txBody>
          <a:bodyPr>
            <a:noAutofit/>
          </a:bodyPr>
          <a:lstStyle/>
          <a:p>
            <a:pPr algn="l"/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ucture of KCC Consultation with Schools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197768" y="1375814"/>
            <a:ext cx="8784976" cy="4418293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prstClr val="black"/>
                </a:solidFill>
              </a:rPr>
              <a:t>Initial question on overarching principl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prstClr val="black"/>
                </a:solidFill>
              </a:rPr>
              <a:t>Followed by 18 specific proposals about changes to individual factors/rates and other matter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prstClr val="black"/>
                </a:solidFill>
              </a:rPr>
              <a:t>Prioritisation question – top 5 most important to you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prstClr val="black"/>
                </a:solidFill>
              </a:rPr>
              <a:t>Invite comments on our Equality Impact Assessment (</a:t>
            </a:r>
            <a:r>
              <a:rPr lang="en-GB" dirty="0" err="1" smtClean="0">
                <a:solidFill>
                  <a:prstClr val="black"/>
                </a:solidFill>
              </a:rPr>
              <a:t>EqIA</a:t>
            </a:r>
            <a:r>
              <a:rPr lang="en-GB" dirty="0" smtClean="0">
                <a:solidFill>
                  <a:prstClr val="black"/>
                </a:solidFill>
              </a:rPr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prstClr val="black"/>
                </a:solidFill>
              </a:rPr>
              <a:t>General commen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dirty="0">
              <a:solidFill>
                <a:prstClr val="black"/>
              </a:solidFill>
            </a:endParaRPr>
          </a:p>
          <a:p>
            <a:pPr marL="0" indent="0">
              <a:buFont typeface="Arial" charset="0"/>
              <a:buNone/>
            </a:pPr>
            <a:r>
              <a:rPr lang="en-GB" kern="0" dirty="0" smtClean="0"/>
              <a:t>  </a:t>
            </a:r>
          </a:p>
          <a:p>
            <a:pPr marL="0" indent="0">
              <a:buFont typeface="Arial" charset="0"/>
              <a:buNone/>
            </a:pPr>
            <a:endParaRPr lang="en-GB" kern="0" dirty="0" smtClean="0"/>
          </a:p>
          <a:p>
            <a:endParaRPr lang="en-GB" kern="0" dirty="0" smtClean="0"/>
          </a:p>
          <a:p>
            <a:pPr lvl="1"/>
            <a:endParaRPr lang="en-GB" kern="0" dirty="0" smtClean="0"/>
          </a:p>
          <a:p>
            <a:pPr lvl="1"/>
            <a:endParaRPr lang="en-GB" kern="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kern="0" dirty="0"/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450706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6262" y="49524"/>
            <a:ext cx="8228013" cy="1141412"/>
          </a:xfrm>
        </p:spPr>
        <p:txBody>
          <a:bodyPr>
            <a:normAutofit/>
          </a:bodyPr>
          <a:lstStyle/>
          <a:p>
            <a:pPr algn="l"/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table of key dates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215091" y="1098939"/>
            <a:ext cx="8784976" cy="4418293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October – launch all school consult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ing November – Headteacher briefing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 November – consultation clos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December – SFF meet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December - </a:t>
            </a: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CC </a:t>
            </a:r>
            <a:r>
              <a:rPr lang="en-GB" sz="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PE Cabinet Committe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December – KCC Cabinet leading to a decision on formula chang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nuary/February – School budgets calculat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3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en-GB" sz="3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0" indent="0">
              <a:buFont typeface="Arial" charset="0"/>
              <a:buNone/>
            </a:pPr>
            <a:endParaRPr lang="en-GB" sz="3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sz="3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sz="30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30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2583034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10582" y="2780928"/>
            <a:ext cx="8228013" cy="1141412"/>
          </a:xfrm>
        </p:spPr>
        <p:txBody>
          <a:bodyPr>
            <a:normAutofit/>
          </a:bodyPr>
          <a:lstStyle/>
          <a:p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 questions?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215264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6262" y="49524"/>
            <a:ext cx="8228013" cy="1141412"/>
          </a:xfrm>
        </p:spPr>
        <p:txBody>
          <a:bodyPr>
            <a:normAutofit/>
          </a:bodyPr>
          <a:lstStyle/>
          <a:p>
            <a:pPr algn="l"/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PE Priorities 2017/18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160445" y="1170947"/>
            <a:ext cx="8784976" cy="4418293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Continue </a:t>
            </a:r>
            <a:r>
              <a:rPr lang="en-GB" sz="2800" kern="0" dirty="0">
                <a:latin typeface="Arial" panose="020B0604020202020204" pitchFamily="34" charset="0"/>
                <a:cs typeface="Arial" panose="020B0604020202020204" pitchFamily="34" charset="0"/>
              </a:rPr>
              <a:t>the integration of CYPE Services </a:t>
            </a:r>
          </a:p>
          <a:p>
            <a:r>
              <a:rPr lang="en-GB" sz="2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Implement new High Needs funding model and the NFF changes to school funding</a:t>
            </a:r>
          </a:p>
          <a:p>
            <a:r>
              <a:rPr lang="en-GB" sz="2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Establish the Education Services Company in April 2018 as a new model for delivery of services</a:t>
            </a:r>
          </a:p>
          <a:p>
            <a:r>
              <a:rPr lang="en-GB" sz="2800" kern="0" dirty="0">
                <a:latin typeface="Arial" panose="020B0604020202020204" pitchFamily="34" charset="0"/>
                <a:cs typeface="Arial" panose="020B0604020202020204" pitchFamily="34" charset="0"/>
              </a:rPr>
              <a:t>Continue to deliver the needed school places and broker sponsors for new </a:t>
            </a:r>
            <a:r>
              <a:rPr lang="en-GB" sz="2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schools</a:t>
            </a:r>
          </a:p>
          <a:p>
            <a:r>
              <a:rPr lang="en-GB" sz="2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Improve access to CAMHS to provide timely support to children with mental health issues </a:t>
            </a:r>
            <a:endParaRPr lang="en-GB" sz="28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8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charset="0"/>
              <a:buNone/>
            </a:pPr>
            <a:endParaRPr lang="en-GB" sz="28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8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sz="24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sz="24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8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2878773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467544" y="836712"/>
            <a:ext cx="8064896" cy="3456384"/>
          </a:xfrm>
          <a:prstGeom prst="roundRect">
            <a:avLst/>
          </a:prstGeom>
          <a:noFill/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40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Education People</a:t>
            </a:r>
            <a:br>
              <a:rPr lang="en-GB" sz="40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4000" b="1" dirty="0" smtClean="0">
              <a:solidFill>
                <a:srgbClr val="7800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Update – November 2017</a:t>
            </a:r>
            <a:endParaRPr lang="en-GB" sz="24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25" t="73333" r="56250" b="16222"/>
          <a:stretch/>
        </p:blipFill>
        <p:spPr bwMode="auto">
          <a:xfrm>
            <a:off x="7092280" y="5949280"/>
            <a:ext cx="1638300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3860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683568" y="1484784"/>
            <a:ext cx="6984776" cy="4248472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</a:pPr>
            <a:endParaRPr 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o secure for the longer term the ability to provide the highest quality services that we can to children, young people and families in Kent</a:t>
            </a:r>
          </a:p>
          <a:p>
            <a:pPr>
              <a:spcBef>
                <a:spcPts val="600"/>
              </a:spcBef>
            </a:pPr>
            <a:endParaRPr lang="en-US" sz="2400" b="1" dirty="0" smtClean="0">
              <a:solidFill>
                <a:srgbClr val="7800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o ensure that schools and other settings will continue to be well-supported by and work closely with their local authority to deliver the best possible outcomes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25" t="73333" r="56250" b="16222"/>
          <a:stretch/>
        </p:blipFill>
        <p:spPr bwMode="auto">
          <a:xfrm>
            <a:off x="7092280" y="5949280"/>
            <a:ext cx="1638300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ounded Rectangle 6"/>
          <p:cNvSpPr/>
          <p:nvPr/>
        </p:nvSpPr>
        <p:spPr>
          <a:xfrm>
            <a:off x="275308" y="404664"/>
            <a:ext cx="6817642" cy="690463"/>
          </a:xfrm>
          <a:prstGeom prst="roundRect">
            <a:avLst/>
          </a:prstGeom>
          <a:noFill/>
          <a:ln w="50800">
            <a:solidFill>
              <a:srgbClr val="7800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are we doing this?</a:t>
            </a:r>
            <a:endParaRPr lang="en-GB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9400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683568" y="1484784"/>
            <a:ext cx="7704856" cy="4248472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</a:pP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l Authority Trading Company (LATCo).</a:t>
            </a: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ed by Guarantee.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urplus to be re-invested into services.</a:t>
            </a: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lly-owned by KCC.</a:t>
            </a: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y board has representatives for HT stakeholders.</a:t>
            </a: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50+ staff at launch</a:t>
            </a:r>
            <a:r>
              <a:rPr lang="en-US" sz="2400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£20million turnover.</a:t>
            </a:r>
            <a:endParaRPr lang="en-US" sz="2400" dirty="0">
              <a:solidFill>
                <a:srgbClr val="7800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endParaRPr lang="en-US" sz="2000" b="1" dirty="0">
              <a:solidFill>
                <a:srgbClr val="7800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25" t="73333" r="56250" b="16222"/>
          <a:stretch/>
        </p:blipFill>
        <p:spPr bwMode="auto">
          <a:xfrm>
            <a:off x="7092280" y="5949280"/>
            <a:ext cx="1638300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ounded Rectangle 6"/>
          <p:cNvSpPr/>
          <p:nvPr/>
        </p:nvSpPr>
        <p:spPr>
          <a:xfrm>
            <a:off x="275308" y="404664"/>
            <a:ext cx="6817642" cy="690463"/>
          </a:xfrm>
          <a:prstGeom prst="roundRect">
            <a:avLst/>
          </a:prstGeom>
          <a:noFill/>
          <a:ln w="50800">
            <a:solidFill>
              <a:srgbClr val="7800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ngs to know about the company</a:t>
            </a:r>
            <a:endParaRPr lang="en-GB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9375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25" t="73333" r="56250" b="16222"/>
          <a:stretch/>
        </p:blipFill>
        <p:spPr bwMode="auto">
          <a:xfrm>
            <a:off x="7092280" y="5949280"/>
            <a:ext cx="1638300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247569" y="1443246"/>
            <a:ext cx="3840856" cy="360040"/>
          </a:xfrm>
          <a:prstGeom prst="rect">
            <a:avLst/>
          </a:prstGeom>
          <a:noFill/>
          <a:ln>
            <a:solidFill>
              <a:srgbClr val="7800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000" b="1" dirty="0" smtClean="0">
                <a:solidFill>
                  <a:srgbClr val="7800AF"/>
                </a:solidFill>
                <a:latin typeface="Arial"/>
                <a:cs typeface="Arial"/>
              </a:rPr>
              <a:t>IN the company</a:t>
            </a:r>
            <a:endParaRPr lang="en-GB" sz="2000" b="1" dirty="0">
              <a:solidFill>
                <a:srgbClr val="7800AF"/>
              </a:solidFill>
              <a:latin typeface="Arial"/>
              <a:cs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816803" y="1455932"/>
            <a:ext cx="3842732" cy="360040"/>
          </a:xfrm>
          <a:prstGeom prst="rect">
            <a:avLst/>
          </a:prstGeom>
          <a:noFill/>
          <a:ln>
            <a:solidFill>
              <a:srgbClr val="7800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000" b="1" dirty="0" smtClean="0">
                <a:solidFill>
                  <a:srgbClr val="7800AF"/>
                </a:solidFill>
                <a:latin typeface="Arial"/>
                <a:cs typeface="Arial"/>
              </a:rPr>
              <a:t>REMAINING in KCC</a:t>
            </a:r>
            <a:endParaRPr lang="en-GB" sz="2000" b="1" dirty="0">
              <a:solidFill>
                <a:srgbClr val="7800AF"/>
              </a:solidFill>
              <a:latin typeface="Arial"/>
              <a:cs typeface="Arial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47569" y="1815973"/>
            <a:ext cx="3840856" cy="2904036"/>
          </a:xfrm>
          <a:prstGeom prst="rect">
            <a:avLst/>
          </a:prstGeom>
          <a:noFill/>
          <a:ln>
            <a:solidFill>
              <a:srgbClr val="7800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Tx/>
              <a:buChar char="-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ool Improvement</a:t>
            </a:r>
          </a:p>
          <a:p>
            <a:pPr marL="342900" indent="-342900">
              <a:buFontTx/>
              <a:buChar char="-"/>
            </a:pPr>
            <a:r>
              <a:rPr lang="en-GB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or Services</a:t>
            </a:r>
          </a:p>
          <a:p>
            <a:pPr marL="342900" indent="-342900">
              <a:buFontTx/>
              <a:buChar char="-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door Education</a:t>
            </a:r>
          </a:p>
          <a:p>
            <a:pPr marL="342900" indent="-342900">
              <a:buFontTx/>
              <a:buChar char="-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ools Financial Services</a:t>
            </a:r>
          </a:p>
          <a:p>
            <a:pPr marL="342900" indent="-342900">
              <a:buFontTx/>
              <a:buChar char="-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rly Years and Childcare</a:t>
            </a:r>
          </a:p>
          <a:p>
            <a:pPr marL="342900" indent="-342900">
              <a:buFontTx/>
              <a:buChar char="-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al Psychology</a:t>
            </a:r>
          </a:p>
          <a:p>
            <a:pPr marL="342900" indent="-342900">
              <a:buFontTx/>
              <a:buChar char="-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 and Employability</a:t>
            </a:r>
          </a:p>
          <a:p>
            <a:pPr marL="342900" indent="-342900">
              <a:buFontTx/>
              <a:buChar char="-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 Safeguarding</a:t>
            </a:r>
            <a:endParaRPr lang="en-GB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Tx/>
              <a:buChar char="-"/>
            </a:pPr>
            <a:endParaRPr lang="en-GB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816803" y="1815973"/>
            <a:ext cx="3865897" cy="2904035"/>
          </a:xfrm>
          <a:prstGeom prst="rect">
            <a:avLst/>
          </a:prstGeom>
          <a:noFill/>
          <a:ln>
            <a:solidFill>
              <a:srgbClr val="7800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buFontTx/>
              <a:buChar char="-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rly Help and Preventative Services</a:t>
            </a:r>
          </a:p>
          <a:p>
            <a:pPr marL="342900" indent="-342900">
              <a:buFontTx/>
              <a:buChar char="-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</a:t>
            </a:r>
          </a:p>
          <a:p>
            <a:pPr marL="342900" indent="-342900">
              <a:buFontTx/>
              <a:buChar char="-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r Access and Admissions</a:t>
            </a:r>
          </a:p>
          <a:p>
            <a:pPr marL="342900" indent="-342900">
              <a:buFontTx/>
              <a:buChar char="-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a Education Officers</a:t>
            </a:r>
          </a:p>
          <a:p>
            <a:pPr marL="342900" indent="-342900">
              <a:buFontTx/>
              <a:buChar char="-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sion Planning</a:t>
            </a:r>
          </a:p>
          <a:p>
            <a:pPr marL="342900" indent="-342900">
              <a:buFontTx/>
              <a:buChar char="-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ademies Conversion</a:t>
            </a:r>
          </a:p>
          <a:p>
            <a:pPr marL="342900" indent="-342900">
              <a:buFontTx/>
              <a:buChar char="-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, Learning and Skills (CLS)</a:t>
            </a:r>
            <a:endParaRPr lang="en-GB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Tx/>
              <a:buChar char="-"/>
            </a:pPr>
            <a:endParaRPr lang="en-GB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275308" y="404664"/>
            <a:ext cx="6817642" cy="690463"/>
          </a:xfrm>
          <a:prstGeom prst="roundRect">
            <a:avLst/>
          </a:prstGeom>
          <a:noFill/>
          <a:ln w="50800">
            <a:solidFill>
              <a:srgbClr val="7800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ch services will the company provide?</a:t>
            </a:r>
            <a:endParaRPr lang="en-GB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06834" y="4801690"/>
            <a:ext cx="8736986" cy="1523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ompany will </a:t>
            </a: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e to deliver services on behalf of KCC as well as delivering strategic traded </a:t>
            </a:r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kages</a:t>
            </a: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2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endParaRPr lang="en-US" sz="3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</a:t>
            </a:r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site </a:t>
            </a: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</a:t>
            </a:r>
            <a:r>
              <a:rPr lang="en-US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 </a:t>
            </a: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 and the means to access all KCC services.</a:t>
            </a:r>
          </a:p>
        </p:txBody>
      </p:sp>
    </p:spTree>
    <p:extLst>
      <p:ext uri="{BB962C8B-B14F-4D97-AF65-F5344CB8AC3E}">
        <p14:creationId xmlns:p14="http://schemas.microsoft.com/office/powerpoint/2010/main" val="137736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683568" y="1340768"/>
            <a:ext cx="7488832" cy="4392488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</a:pPr>
            <a:endParaRPr 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Kent is effectively two functions now:</a:t>
            </a:r>
          </a:p>
          <a:p>
            <a:pPr lvl="1">
              <a:spcBef>
                <a:spcPts val="600"/>
              </a:spcBef>
              <a:buFontTx/>
              <a:buChar char="-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Marketing</a:t>
            </a:r>
          </a:p>
          <a:p>
            <a:pPr lvl="1">
              <a:spcBef>
                <a:spcPts val="600"/>
              </a:spcBef>
              <a:buFontTx/>
              <a:buChar char="-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Billing</a:t>
            </a:r>
          </a:p>
          <a:p>
            <a:pPr>
              <a:spcBef>
                <a:spcPts val="600"/>
              </a:spcBef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Both functions will be </a:t>
            </a: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ken over by the company.</a:t>
            </a: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invoicing will be maintained.</a:t>
            </a:r>
          </a:p>
          <a:p>
            <a:pPr>
              <a:spcBef>
                <a:spcPts val="600"/>
              </a:spcBef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Intention to act as the </a:t>
            </a: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‘one stop shop’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for all KCC services, not just those provided by the company.</a:t>
            </a:r>
          </a:p>
          <a:p>
            <a:pPr>
              <a:spcBef>
                <a:spcPts val="600"/>
              </a:spcBef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All your </a:t>
            </a: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sting arrangements will be transferred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to the new company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endParaRPr lang="en-US" sz="2000" b="1" dirty="0">
              <a:solidFill>
                <a:srgbClr val="7800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25" t="73333" r="56250" b="16222"/>
          <a:stretch/>
        </p:blipFill>
        <p:spPr bwMode="auto">
          <a:xfrm>
            <a:off x="7092280" y="5949280"/>
            <a:ext cx="1638300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ounded Rectangle 6"/>
          <p:cNvSpPr/>
          <p:nvPr/>
        </p:nvSpPr>
        <p:spPr>
          <a:xfrm>
            <a:off x="275308" y="404664"/>
            <a:ext cx="6817642" cy="690463"/>
          </a:xfrm>
          <a:prstGeom prst="roundRect">
            <a:avLst/>
          </a:prstGeom>
          <a:noFill/>
          <a:ln w="50800">
            <a:solidFill>
              <a:srgbClr val="7800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happening to EduKent?</a:t>
            </a:r>
            <a:endParaRPr lang="en-GB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49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275308" y="1340768"/>
            <a:ext cx="8455272" cy="4392488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</a:pPr>
            <a:r>
              <a:rPr lang="en-US" sz="22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ew website.</a:t>
            </a: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asier to navigate and search for what you need. From 1 April 2018, all the services you currently access through EduKent will be available only from the company. Future development to bring multiple websites together and make buying easier.</a:t>
            </a:r>
          </a:p>
          <a:p>
            <a:pPr>
              <a:spcBef>
                <a:spcPts val="600"/>
              </a:spcBef>
            </a:pPr>
            <a:r>
              <a:rPr lang="en-US" sz="2200" b="1" dirty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ter value for </a:t>
            </a:r>
            <a:r>
              <a:rPr lang="en-US" sz="22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ey.</a:t>
            </a: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 An </a:t>
            </a: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ncreased range of strategic packages, and bundling of service </a:t>
            </a: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offerings.</a:t>
            </a:r>
            <a:endParaRPr lang="en-US" sz="2200" b="1" dirty="0" smtClean="0">
              <a:solidFill>
                <a:srgbClr val="7800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2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ater accountability.</a:t>
            </a: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 A provider directly responsible for the delivery of its services.</a:t>
            </a:r>
          </a:p>
          <a:p>
            <a:pPr>
              <a:spcBef>
                <a:spcPts val="600"/>
              </a:spcBef>
            </a:pPr>
            <a:r>
              <a:rPr lang="en-US" sz="22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d collaboration. </a:t>
            </a: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Working with you to develop products and services.</a:t>
            </a:r>
          </a:p>
          <a:p>
            <a:pPr>
              <a:spcBef>
                <a:spcPts val="600"/>
              </a:spcBef>
            </a:pPr>
            <a:r>
              <a:rPr lang="en-US" sz="22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ity. </a:t>
            </a:r>
            <a:r>
              <a:rPr lang="en-US" sz="2200" dirty="0" smtClean="0">
                <a:latin typeface="Arial" panose="020B0604020202020204" pitchFamily="34" charset="0"/>
                <a:cs typeface="Arial" panose="020B0604020202020204" pitchFamily="34" charset="0"/>
              </a:rPr>
              <a:t>The same place for your statutory needs.</a:t>
            </a:r>
            <a:endParaRPr lang="en-US" sz="2200" b="1" dirty="0">
              <a:solidFill>
                <a:srgbClr val="7800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25" t="73333" r="56250" b="16222"/>
          <a:stretch/>
        </p:blipFill>
        <p:spPr bwMode="auto">
          <a:xfrm>
            <a:off x="7092280" y="5949280"/>
            <a:ext cx="1638300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ounded Rectangle 6"/>
          <p:cNvSpPr/>
          <p:nvPr/>
        </p:nvSpPr>
        <p:spPr>
          <a:xfrm>
            <a:off x="275308" y="404664"/>
            <a:ext cx="6817642" cy="690463"/>
          </a:xfrm>
          <a:prstGeom prst="roundRect">
            <a:avLst/>
          </a:prstGeom>
          <a:noFill/>
          <a:ln w="50800">
            <a:solidFill>
              <a:srgbClr val="7800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difference does it mean for my school?</a:t>
            </a:r>
            <a:endParaRPr lang="en-GB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5195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539552" y="1484784"/>
            <a:ext cx="7704856" cy="4248472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</a:pPr>
            <a:endParaRPr 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November 2017.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‘Soft’ launch of the name and brand took place at the EduKent Expo.</a:t>
            </a: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ember 2017 – March 2018.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Increasing publicity about the company, what it will be doing and when.</a:t>
            </a: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ch 2018.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Formal launch of the company.</a:t>
            </a: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April 2018.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‘Go live’ date, staff TUPE transfer to the company and contract between the company and KCC for provision of services begins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endParaRPr lang="en-US" sz="2000" b="1" dirty="0">
              <a:solidFill>
                <a:srgbClr val="7800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25" t="73333" r="56250" b="16222"/>
          <a:stretch/>
        </p:blipFill>
        <p:spPr bwMode="auto">
          <a:xfrm>
            <a:off x="7092280" y="5949280"/>
            <a:ext cx="1638300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ounded Rectangle 6"/>
          <p:cNvSpPr/>
          <p:nvPr/>
        </p:nvSpPr>
        <p:spPr>
          <a:xfrm>
            <a:off x="275308" y="404664"/>
            <a:ext cx="6817642" cy="690463"/>
          </a:xfrm>
          <a:prstGeom prst="roundRect">
            <a:avLst/>
          </a:prstGeom>
          <a:noFill/>
          <a:ln w="50800">
            <a:solidFill>
              <a:srgbClr val="7800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n will all of this be happening?</a:t>
            </a:r>
            <a:endParaRPr lang="en-GB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9628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683568" y="1484784"/>
            <a:ext cx="7416824" cy="4248472"/>
          </a:xfrm>
        </p:spPr>
        <p:txBody>
          <a:bodyPr>
            <a:noAutofit/>
          </a:bodyPr>
          <a:lstStyle/>
          <a:p>
            <a:pPr>
              <a:spcBef>
                <a:spcPts val="600"/>
              </a:spcBef>
            </a:pPr>
            <a:endParaRPr lang="en-U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want your feedback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, help us design products that work for you. What would make your life easier?</a:t>
            </a:r>
          </a:p>
          <a:p>
            <a:pPr>
              <a:spcBef>
                <a:spcPts val="600"/>
              </a:spcBef>
            </a:pPr>
            <a:endParaRPr lang="en-US" sz="2400" b="1" dirty="0">
              <a:solidFill>
                <a:srgbClr val="7800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What </a:t>
            </a: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ther information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do you need?</a:t>
            </a:r>
          </a:p>
          <a:p>
            <a:pPr>
              <a:spcBef>
                <a:spcPts val="600"/>
              </a:spcBef>
            </a:pP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How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do you want us to </a:t>
            </a:r>
            <a:r>
              <a:rPr lang="en-US" sz="2400" b="1" dirty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cate with you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>
              <a:spcBef>
                <a:spcPts val="600"/>
              </a:spcBef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endParaRPr lang="en-US" sz="2000" b="1" dirty="0">
              <a:solidFill>
                <a:srgbClr val="7800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25" t="73333" r="56250" b="16222"/>
          <a:stretch/>
        </p:blipFill>
        <p:spPr bwMode="auto">
          <a:xfrm>
            <a:off x="7092280" y="5949280"/>
            <a:ext cx="1638300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ounded Rectangle 6"/>
          <p:cNvSpPr/>
          <p:nvPr/>
        </p:nvSpPr>
        <p:spPr>
          <a:xfrm>
            <a:off x="275308" y="404664"/>
            <a:ext cx="6817642" cy="690463"/>
          </a:xfrm>
          <a:prstGeom prst="roundRect">
            <a:avLst/>
          </a:prstGeom>
          <a:noFill/>
          <a:ln w="50800">
            <a:solidFill>
              <a:srgbClr val="7800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stion for you</a:t>
            </a:r>
            <a:endParaRPr lang="en-GB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5310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107504" y="1484784"/>
            <a:ext cx="8928992" cy="4248472"/>
          </a:xfrm>
        </p:spPr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: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ello@theeducationpeople.org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phone: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0345 604 1699</a:t>
            </a:r>
          </a:p>
          <a:p>
            <a:pPr>
              <a:spcBef>
                <a:spcPts val="600"/>
              </a:spcBef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im Chief Executive: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    Graham Willett,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graham.willett@kent.gov.uk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, 03000 414 154</a:t>
            </a:r>
          </a:p>
          <a:p>
            <a:pPr>
              <a:spcBef>
                <a:spcPts val="600"/>
              </a:spcBef>
            </a:pPr>
            <a:endParaRPr lang="en-US" sz="2400" b="1" dirty="0" smtClean="0">
              <a:solidFill>
                <a:srgbClr val="7800A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2400" b="1" dirty="0" smtClean="0">
                <a:solidFill>
                  <a:srgbClr val="7800A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or of Organisation and Business Development: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Richard Hallett,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richard.hallett@kent.gov.uk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, 03000 416 192</a:t>
            </a:r>
          </a:p>
          <a:p>
            <a:pPr marL="0" indent="0">
              <a:spcBef>
                <a:spcPts val="600"/>
              </a:spcBef>
              <a:buNone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25" t="73333" r="56250" b="16222"/>
          <a:stretch/>
        </p:blipFill>
        <p:spPr bwMode="auto">
          <a:xfrm>
            <a:off x="7092280" y="5949280"/>
            <a:ext cx="1638300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ounded Rectangle 6"/>
          <p:cNvSpPr/>
          <p:nvPr/>
        </p:nvSpPr>
        <p:spPr>
          <a:xfrm>
            <a:off x="275308" y="404664"/>
            <a:ext cx="6817642" cy="690463"/>
          </a:xfrm>
          <a:prstGeom prst="roundRect">
            <a:avLst/>
          </a:prstGeom>
          <a:noFill/>
          <a:ln w="50800">
            <a:solidFill>
              <a:srgbClr val="7800A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Enquiries and further information</a:t>
            </a:r>
            <a:endParaRPr lang="en-GB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253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7937" y="6359071"/>
            <a:ext cx="9144000" cy="507523"/>
          </a:xfrm>
          <a:prstGeom prst="rect">
            <a:avLst/>
          </a:prstGeom>
          <a:solidFill>
            <a:srgbClr val="418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14906"/>
            <a:ext cx="7886700" cy="1325563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4" name="Picture 3">
            <a:hlinkClick r:id="" action="ppaction://hlinkshowjump?jump=firstslide"/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780"/>
          <a:stretch/>
        </p:blipFill>
        <p:spPr bwMode="auto">
          <a:xfrm>
            <a:off x="-2" y="-1"/>
            <a:ext cx="9149445" cy="1587581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A21C449A-B264-4752-A175-A82C86B1F37D}"/>
              </a:ext>
            </a:extLst>
          </p:cNvPr>
          <p:cNvSpPr/>
          <p:nvPr/>
        </p:nvSpPr>
        <p:spPr>
          <a:xfrm>
            <a:off x="-2" y="1554246"/>
            <a:ext cx="9144000" cy="152962"/>
          </a:xfrm>
          <a:prstGeom prst="rect">
            <a:avLst/>
          </a:prstGeom>
          <a:solidFill>
            <a:srgbClr val="AABE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12467" y="1896311"/>
            <a:ext cx="8285267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endParaRPr lang="en-GB" dirty="0" smtClean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/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Stuart 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Collins</a:t>
            </a:r>
            <a:b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Interim 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Director of Early Help and Preventative </a:t>
            </a: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Services</a:t>
            </a:r>
          </a:p>
          <a:p>
            <a:pPr defTabSz="457200"/>
            <a:endParaRPr lang="en-GB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/>
            <a:endParaRPr lang="en-GB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/>
            <a:endParaRPr lang="en-GB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/>
            <a:endParaRPr lang="en-GB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/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Headteachers 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riefing </a:t>
            </a:r>
          </a:p>
          <a:p>
            <a:pPr defTabSz="457200"/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November 2017</a:t>
            </a:r>
            <a:endParaRPr lang="en-GB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-324321" y="520896"/>
            <a:ext cx="4572000" cy="638636"/>
            <a:chOff x="-324321" y="520896"/>
            <a:chExt cx="4572000" cy="638636"/>
          </a:xfrm>
        </p:grpSpPr>
        <p:sp>
          <p:nvSpPr>
            <p:cNvPr id="12" name="Rectangle 11"/>
            <p:cNvSpPr/>
            <p:nvPr/>
          </p:nvSpPr>
          <p:spPr>
            <a:xfrm>
              <a:off x="-324321" y="520896"/>
              <a:ext cx="45720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57200"/>
              <a:r>
                <a:rPr lang="en-GB" sz="1400" dirty="0">
                  <a:solidFill>
                    <a:prstClr val="white">
                      <a:lumMod val="85000"/>
                    </a:prst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hildren &amp; Young People’s Service 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463929" y="820978"/>
              <a:ext cx="2995500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457200"/>
              <a:r>
                <a:rPr lang="en-GB" sz="1550" dirty="0">
                  <a:solidFill>
                    <a:prstClr val="white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EGRATION PROGRAMME</a:t>
              </a:r>
              <a:endParaRPr lang="en-GB" sz="1550" dirty="0">
                <a:solidFill>
                  <a:prstClr val="white"/>
                </a:solidFill>
              </a:endParaRPr>
            </a:p>
          </p:txBody>
        </p:sp>
        <p:cxnSp>
          <p:nvCxnSpPr>
            <p:cNvPr id="14" name="Straight Connector 13"/>
            <p:cNvCxnSpPr/>
            <p:nvPr/>
          </p:nvCxnSpPr>
          <p:spPr>
            <a:xfrm>
              <a:off x="623532" y="826532"/>
              <a:ext cx="267629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58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6262" y="49524"/>
            <a:ext cx="8228013" cy="1141412"/>
          </a:xfrm>
        </p:spPr>
        <p:txBody>
          <a:bodyPr>
            <a:normAutofit/>
          </a:bodyPr>
          <a:lstStyle/>
          <a:p>
            <a:pPr algn="l"/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PE Priorities 2017/18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160445" y="1196752"/>
            <a:ext cx="8784976" cy="4130261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Continue to develop proposals for LA supported local multi-academy trusts</a:t>
            </a:r>
          </a:p>
          <a:p>
            <a:r>
              <a:rPr lang="en-GB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Close </a:t>
            </a:r>
            <a:r>
              <a:rPr lang="en-GB" kern="0" dirty="0">
                <a:latin typeface="Arial" panose="020B0604020202020204" pitchFamily="34" charset="0"/>
                <a:cs typeface="Arial" panose="020B0604020202020204" pitchFamily="34" charset="0"/>
              </a:rPr>
              <a:t>the attainment gaps for disadvantaged pupils and further reduce NEETs</a:t>
            </a:r>
          </a:p>
          <a:p>
            <a:r>
              <a:rPr lang="en-GB" kern="0" dirty="0">
                <a:latin typeface="Arial" panose="020B0604020202020204" pitchFamily="34" charset="0"/>
                <a:cs typeface="Arial" panose="020B0604020202020204" pitchFamily="34" charset="0"/>
              </a:rPr>
              <a:t>Address the recommendations in the ‘good’ Ofsted Inspection report of Children’s Early Help and Social Care Services </a:t>
            </a:r>
            <a:endParaRPr lang="en-GB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Reduce demand on social care by achieving more through Early Help</a:t>
            </a:r>
            <a:endParaRPr lang="en-GB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4048541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7937" y="6359071"/>
            <a:ext cx="9144000" cy="507523"/>
          </a:xfrm>
          <a:prstGeom prst="rect">
            <a:avLst/>
          </a:prstGeom>
          <a:solidFill>
            <a:srgbClr val="418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14906"/>
            <a:ext cx="7886700" cy="1325563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4" name="Picture 3">
            <a:hlinkClick r:id="" action="ppaction://hlinkshowjump?jump=firstslide"/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780"/>
          <a:stretch/>
        </p:blipFill>
        <p:spPr bwMode="auto">
          <a:xfrm>
            <a:off x="-2" y="-1"/>
            <a:ext cx="9149445" cy="158758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0" name="Group 19"/>
          <p:cNvGrpSpPr/>
          <p:nvPr/>
        </p:nvGrpSpPr>
        <p:grpSpPr>
          <a:xfrm>
            <a:off x="-324321" y="520896"/>
            <a:ext cx="4572000" cy="638636"/>
            <a:chOff x="-324321" y="520896"/>
            <a:chExt cx="4572000" cy="638636"/>
          </a:xfrm>
        </p:grpSpPr>
        <p:sp>
          <p:nvSpPr>
            <p:cNvPr id="21" name="Rectangle 20"/>
            <p:cNvSpPr/>
            <p:nvPr/>
          </p:nvSpPr>
          <p:spPr>
            <a:xfrm>
              <a:off x="-324321" y="520896"/>
              <a:ext cx="45720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57200"/>
              <a:r>
                <a:rPr lang="en-GB" sz="1400" dirty="0">
                  <a:solidFill>
                    <a:prstClr val="white">
                      <a:lumMod val="85000"/>
                    </a:prst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hildren &amp; Young People’s Service 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63929" y="820978"/>
              <a:ext cx="2995500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457200"/>
              <a:r>
                <a:rPr lang="en-GB" sz="1550" dirty="0">
                  <a:solidFill>
                    <a:prstClr val="white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EGRATION PROGRAMME</a:t>
              </a:r>
              <a:endParaRPr lang="en-GB" sz="1550" dirty="0">
                <a:solidFill>
                  <a:prstClr val="white"/>
                </a:solidFill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623532" y="826532"/>
              <a:ext cx="267629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A21C449A-B264-4752-A175-A82C86B1F37D}"/>
              </a:ext>
            </a:extLst>
          </p:cNvPr>
          <p:cNvSpPr/>
          <p:nvPr/>
        </p:nvSpPr>
        <p:spPr>
          <a:xfrm>
            <a:off x="-2" y="1554246"/>
            <a:ext cx="9144000" cy="152962"/>
          </a:xfrm>
          <a:prstGeom prst="rect">
            <a:avLst/>
          </a:prstGeom>
          <a:solidFill>
            <a:srgbClr val="AABE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12467" y="1733321"/>
            <a:ext cx="8285267" cy="4431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GB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vision, </a:t>
            </a:r>
            <a:r>
              <a:rPr lang="en-GB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</a:t>
            </a:r>
            <a:r>
              <a:rPr lang="en-GB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ensure that our services are:</a:t>
            </a:r>
            <a:r>
              <a:rPr lang="en-GB" sz="2400" b="1" dirty="0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2400" b="1" dirty="0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2400" b="1" dirty="0">
              <a:solidFill>
                <a:srgbClr val="6600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ully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integrated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ocused on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building greater resilience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n familie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ble to ensure safeguarding for all through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effective working across all agencies and partners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elivered in a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responsive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timely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way through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effective and efficient use of resource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esigned as part of a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whole system approach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long the continuum of need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capable of achieving the best outcomes by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addressing needs in the right way at the right time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effective at improving outcomes and having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ambitious aspirations for children and young people in the care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of the local authority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ambitious for what all children and young people can achieve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n their lives, and for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what our staff and volunteers can achieve with them</a:t>
            </a:r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463929" y="2362200"/>
            <a:ext cx="2593596" cy="9525"/>
          </a:xfrm>
          <a:prstGeom prst="line">
            <a:avLst/>
          </a:prstGeom>
          <a:ln w="3175">
            <a:solidFill>
              <a:srgbClr val="F5A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5791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65"/>
          <p:cNvSpPr/>
          <p:nvPr>
            <p:custDataLst>
              <p:tags r:id="rId1"/>
            </p:custDataLst>
          </p:nvPr>
        </p:nvSpPr>
        <p:spPr>
          <a:xfrm>
            <a:off x="3630679" y="3013631"/>
            <a:ext cx="4188809" cy="6001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200"/>
            <a:r>
              <a:rPr lang="en-US" sz="11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do we work smarter and in better coordinated way to work with families and  address risk with colleagues from the community (schools/health/the police etc.) ?  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6424613"/>
            <a:ext cx="9144000" cy="507523"/>
          </a:xfrm>
          <a:prstGeom prst="rect">
            <a:avLst/>
          </a:prstGeom>
          <a:solidFill>
            <a:srgbClr val="418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4" name="Picture 3">
            <a:hlinkClick r:id="" action="ppaction://hlinkshowjump?jump=firstslide"/>
          </p:cNvPr>
          <p:cNvPicPr/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780"/>
          <a:stretch/>
        </p:blipFill>
        <p:spPr bwMode="auto">
          <a:xfrm>
            <a:off x="-2" y="-1"/>
            <a:ext cx="9149445" cy="158758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0" name="Group 19"/>
          <p:cNvGrpSpPr/>
          <p:nvPr/>
        </p:nvGrpSpPr>
        <p:grpSpPr>
          <a:xfrm>
            <a:off x="-324321" y="520896"/>
            <a:ext cx="4572000" cy="638636"/>
            <a:chOff x="-324321" y="520896"/>
            <a:chExt cx="4572000" cy="638636"/>
          </a:xfrm>
        </p:grpSpPr>
        <p:sp>
          <p:nvSpPr>
            <p:cNvPr id="21" name="Rectangle 20"/>
            <p:cNvSpPr/>
            <p:nvPr/>
          </p:nvSpPr>
          <p:spPr>
            <a:xfrm>
              <a:off x="-324321" y="520896"/>
              <a:ext cx="45720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57200"/>
              <a:r>
                <a:rPr lang="en-GB" sz="1400" dirty="0">
                  <a:solidFill>
                    <a:prstClr val="white">
                      <a:lumMod val="85000"/>
                    </a:prst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hildren &amp; Young People’s Service 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63929" y="820978"/>
              <a:ext cx="2995500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457200"/>
              <a:r>
                <a:rPr lang="en-GB" sz="1550" dirty="0">
                  <a:solidFill>
                    <a:prstClr val="white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EGRATION PROGRAMME</a:t>
              </a:r>
              <a:endParaRPr lang="en-GB" sz="1550" dirty="0">
                <a:solidFill>
                  <a:prstClr val="white"/>
                </a:solidFill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623532" y="826532"/>
              <a:ext cx="267629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A21C449A-B264-4752-A175-A82C86B1F37D}"/>
              </a:ext>
            </a:extLst>
          </p:cNvPr>
          <p:cNvSpPr/>
          <p:nvPr/>
        </p:nvSpPr>
        <p:spPr>
          <a:xfrm>
            <a:off x="-2" y="1554246"/>
            <a:ext cx="9144000" cy="152962"/>
          </a:xfrm>
          <a:prstGeom prst="rect">
            <a:avLst/>
          </a:prstGeom>
          <a:solidFill>
            <a:srgbClr val="AABE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37" name="Pentagon 36"/>
          <p:cNvSpPr/>
          <p:nvPr/>
        </p:nvSpPr>
        <p:spPr>
          <a:xfrm>
            <a:off x="3043825" y="3791640"/>
            <a:ext cx="5250106" cy="748602"/>
          </a:xfrm>
          <a:prstGeom prst="homePlate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  <a:shade val="30000"/>
                  <a:satMod val="115000"/>
                </a:schemeClr>
              </a:gs>
              <a:gs pos="50000">
                <a:schemeClr val="tx1">
                  <a:lumMod val="65000"/>
                  <a:lumOff val="35000"/>
                  <a:shade val="67500"/>
                  <a:satMod val="115000"/>
                </a:schemeClr>
              </a:gs>
              <a:gs pos="100000">
                <a:schemeClr val="tx1">
                  <a:lumMod val="65000"/>
                  <a:lumOff val="3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0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Pentagon 45"/>
          <p:cNvSpPr/>
          <p:nvPr/>
        </p:nvSpPr>
        <p:spPr>
          <a:xfrm>
            <a:off x="3043825" y="4643905"/>
            <a:ext cx="5250106" cy="748602"/>
          </a:xfrm>
          <a:prstGeom prst="homePlate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  <a:shade val="30000"/>
                  <a:satMod val="115000"/>
                </a:schemeClr>
              </a:gs>
              <a:gs pos="50000">
                <a:schemeClr val="tx1">
                  <a:lumMod val="65000"/>
                  <a:lumOff val="35000"/>
                  <a:shade val="67500"/>
                  <a:satMod val="115000"/>
                </a:schemeClr>
              </a:gs>
              <a:gs pos="100000">
                <a:schemeClr val="tx1">
                  <a:lumMod val="65000"/>
                  <a:lumOff val="35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62313" y="3932773"/>
            <a:ext cx="861557" cy="44865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457200"/>
            <a:r>
              <a:rPr lang="en-US" sz="3600" dirty="0">
                <a:solidFill>
                  <a:prstClr val="white"/>
                </a:solidFill>
              </a:rPr>
              <a:t>02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662313" y="4785039"/>
            <a:ext cx="861557" cy="44865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457200"/>
            <a:r>
              <a:rPr lang="en-US" sz="3600" dirty="0">
                <a:solidFill>
                  <a:prstClr val="white"/>
                </a:solidFill>
              </a:rPr>
              <a:t>03</a:t>
            </a:r>
          </a:p>
        </p:txBody>
      </p:sp>
      <p:sp>
        <p:nvSpPr>
          <p:cNvPr id="55" name="Rectangle 54"/>
          <p:cNvSpPr/>
          <p:nvPr>
            <p:custDataLst>
              <p:tags r:id="rId2"/>
            </p:custDataLst>
          </p:nvPr>
        </p:nvSpPr>
        <p:spPr>
          <a:xfrm>
            <a:off x="1758842" y="4019835"/>
            <a:ext cx="1634538" cy="28907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200"/>
            <a:endParaRPr lang="en-US" sz="11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Rectangle 55"/>
          <p:cNvSpPr/>
          <p:nvPr>
            <p:custDataLst>
              <p:tags r:id="rId3"/>
            </p:custDataLst>
          </p:nvPr>
        </p:nvSpPr>
        <p:spPr>
          <a:xfrm>
            <a:off x="1758842" y="4836450"/>
            <a:ext cx="1634538" cy="34009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457200"/>
            <a:r>
              <a:rPr lang="en-US" sz="1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STENCY</a:t>
            </a:r>
          </a:p>
        </p:txBody>
      </p:sp>
      <p:sp>
        <p:nvSpPr>
          <p:cNvPr id="60" name="Rectangle 59"/>
          <p:cNvSpPr/>
          <p:nvPr>
            <p:custDataLst>
              <p:tags r:id="rId4"/>
            </p:custDataLst>
          </p:nvPr>
        </p:nvSpPr>
        <p:spPr>
          <a:xfrm>
            <a:off x="3868003" y="4019837"/>
            <a:ext cx="1207583" cy="28907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200"/>
            <a:endParaRPr lang="en-US" sz="1100" dirty="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662313" y="2921647"/>
            <a:ext cx="7631616" cy="1533460"/>
            <a:chOff x="803899" y="3694376"/>
            <a:chExt cx="7631616" cy="1533460"/>
          </a:xfrm>
        </p:grpSpPr>
        <p:sp>
          <p:nvSpPr>
            <p:cNvPr id="31" name="Pentagon 30"/>
            <p:cNvSpPr/>
            <p:nvPr/>
          </p:nvSpPr>
          <p:spPr>
            <a:xfrm>
              <a:off x="3185410" y="3694376"/>
              <a:ext cx="5250105" cy="748602"/>
            </a:xfrm>
            <a:prstGeom prst="homePlate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  <a:shade val="30000"/>
                    <a:satMod val="115000"/>
                  </a:schemeClr>
                </a:gs>
                <a:gs pos="50000">
                  <a:schemeClr val="tx1">
                    <a:lumMod val="65000"/>
                    <a:lumOff val="35000"/>
                    <a:shade val="67500"/>
                    <a:satMod val="115000"/>
                  </a:schemeClr>
                </a:gs>
                <a:gs pos="100000">
                  <a:schemeClr val="tx1">
                    <a:lumMod val="65000"/>
                    <a:lumOff val="35000"/>
                    <a:shade val="100000"/>
                    <a:satMod val="115000"/>
                  </a:schemeClr>
                </a:gs>
              </a:gsLst>
              <a:lin ang="0" scaled="1"/>
              <a:tileRect/>
            </a:gra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r>
                <a:rPr lang="en-US" sz="1200" dirty="0">
                  <a:solidFill>
                    <a:prstClr val="white"/>
                  </a:solidFill>
                </a:rPr>
                <a:t>How do we use the strengths of families and work smarter </a:t>
              </a:r>
            </a:p>
            <a:p>
              <a:pPr algn="ctr" defTabSz="457200"/>
              <a:r>
                <a:rPr lang="en-US" sz="1200" dirty="0">
                  <a:solidFill>
                    <a:prstClr val="white"/>
                  </a:solidFill>
                </a:rPr>
                <a:t>and in a more coordinated way with </a:t>
              </a:r>
              <a:r>
                <a:rPr lang="en-US" sz="1200" dirty="0" smtClean="0">
                  <a:solidFill>
                    <a:prstClr val="white"/>
                  </a:solidFill>
                </a:rPr>
                <a:t> schools and other partners </a:t>
              </a:r>
              <a:r>
                <a:rPr lang="en-US" sz="1200" dirty="0">
                  <a:solidFill>
                    <a:prstClr val="white"/>
                  </a:solidFill>
                </a:rPr>
                <a:t>from </a:t>
              </a:r>
            </a:p>
            <a:p>
              <a:pPr algn="ctr" defTabSz="457200"/>
              <a:r>
                <a:rPr lang="en-US" sz="1200" dirty="0">
                  <a:solidFill>
                    <a:prstClr val="white"/>
                  </a:solidFill>
                </a:rPr>
                <a:t>the community to address risk?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803899" y="3847218"/>
              <a:ext cx="861557" cy="44865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457200"/>
              <a:r>
                <a:rPr lang="en-US" sz="3600" dirty="0">
                  <a:solidFill>
                    <a:prstClr val="white"/>
                  </a:solidFill>
                </a:rPr>
                <a:t>01</a:t>
              </a:r>
            </a:p>
          </p:txBody>
        </p:sp>
        <p:sp>
          <p:nvSpPr>
            <p:cNvPr id="57" name="Rectangle 56"/>
            <p:cNvSpPr/>
            <p:nvPr>
              <p:custDataLst>
                <p:tags r:id="rId7"/>
              </p:custDataLst>
            </p:nvPr>
          </p:nvSpPr>
          <p:spPr>
            <a:xfrm>
              <a:off x="3930339" y="4627672"/>
              <a:ext cx="4070056" cy="600164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defTabSz="457200"/>
              <a:r>
                <a:rPr lang="en-US" sz="110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w do we ensure that children and families move through our system seamlessly and receive the right service at the right time and the earliest opportunity</a:t>
              </a:r>
              <a:r>
                <a:rPr lang="en-US" sz="1100" dirty="0">
                  <a:solidFill>
                    <a:prstClr val="white"/>
                  </a:solidFill>
                </a:rPr>
                <a:t>?  </a:t>
              </a:r>
            </a:p>
          </p:txBody>
        </p:sp>
        <p:sp>
          <p:nvSpPr>
            <p:cNvPr id="58" name="Rectangle 57"/>
            <p:cNvSpPr/>
            <p:nvPr>
              <p:custDataLst>
                <p:tags r:id="rId8"/>
              </p:custDataLst>
            </p:nvPr>
          </p:nvSpPr>
          <p:spPr>
            <a:xfrm>
              <a:off x="5507425" y="3924138"/>
              <a:ext cx="1207583" cy="28907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defTabSz="457200"/>
              <a:endParaRPr lang="en-US" sz="1100" dirty="0">
                <a:solidFill>
                  <a:prstClr val="white"/>
                </a:solidFill>
              </a:endParaRPr>
            </a:p>
          </p:txBody>
        </p:sp>
        <p:sp>
          <p:nvSpPr>
            <p:cNvPr id="59" name="Rectangle 58"/>
            <p:cNvSpPr/>
            <p:nvPr>
              <p:custDataLst>
                <p:tags r:id="rId9"/>
              </p:custDataLst>
            </p:nvPr>
          </p:nvSpPr>
          <p:spPr>
            <a:xfrm>
              <a:off x="6940359" y="3924138"/>
              <a:ext cx="1207583" cy="28907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 defTabSz="457200"/>
              <a:endParaRPr lang="en-US" sz="1100" dirty="0">
                <a:solidFill>
                  <a:prstClr val="white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961677" y="3926660"/>
              <a:ext cx="116076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457200"/>
              <a:r>
                <a:rPr lang="en-GB" sz="14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THWAYS</a:t>
              </a:r>
              <a:endParaRPr lang="en-US" sz="1400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67" name="Rectangle 66"/>
          <p:cNvSpPr/>
          <p:nvPr>
            <p:custDataLst>
              <p:tags r:id="rId5"/>
            </p:custDataLst>
          </p:nvPr>
        </p:nvSpPr>
        <p:spPr>
          <a:xfrm>
            <a:off x="3685377" y="4709146"/>
            <a:ext cx="4188809" cy="60016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200"/>
            <a:r>
              <a:rPr lang="en-US" sz="11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do we provide a consistent service across teams and districts </a:t>
            </a:r>
            <a:r>
              <a:rPr lang="en-US" sz="11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o ensure good outcomes while </a:t>
            </a:r>
            <a:r>
              <a:rPr lang="en-US" sz="11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ill allowing innovation and responsiveness to local need?  </a:t>
            </a:r>
          </a:p>
        </p:txBody>
      </p:sp>
      <p:sp>
        <p:nvSpPr>
          <p:cNvPr id="43" name="Rectangle 42"/>
          <p:cNvSpPr/>
          <p:nvPr/>
        </p:nvSpPr>
        <p:spPr>
          <a:xfrm>
            <a:off x="546600" y="3784270"/>
            <a:ext cx="994715" cy="754335"/>
          </a:xfrm>
          <a:prstGeom prst="rect">
            <a:avLst/>
          </a:prstGeom>
          <a:solidFill>
            <a:srgbClr val="8E1065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7" name="Pentagon 44"/>
          <p:cNvSpPr/>
          <p:nvPr/>
        </p:nvSpPr>
        <p:spPr>
          <a:xfrm>
            <a:off x="1581125" y="2925987"/>
            <a:ext cx="1812255" cy="748602"/>
          </a:xfrm>
          <a:prstGeom prst="homePlate">
            <a:avLst/>
          </a:prstGeom>
          <a:gradFill flip="none" rotWithShape="1">
            <a:gsLst>
              <a:gs pos="0">
                <a:srgbClr val="CF1792">
                  <a:shade val="30000"/>
                  <a:satMod val="115000"/>
                </a:srgbClr>
              </a:gs>
              <a:gs pos="50000">
                <a:srgbClr val="CF1792">
                  <a:shade val="67500"/>
                  <a:satMod val="115000"/>
                </a:srgbClr>
              </a:gs>
              <a:gs pos="100000">
                <a:srgbClr val="CF1792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/>
            <a:r>
              <a:rPr lang="en-US" sz="1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MUNITIES</a:t>
            </a:r>
          </a:p>
        </p:txBody>
      </p:sp>
      <p:sp>
        <p:nvSpPr>
          <p:cNvPr id="48" name="Rectangle 47"/>
          <p:cNvSpPr/>
          <p:nvPr/>
        </p:nvSpPr>
        <p:spPr>
          <a:xfrm>
            <a:off x="546600" y="4636536"/>
            <a:ext cx="994715" cy="754335"/>
          </a:xfrm>
          <a:prstGeom prst="rect">
            <a:avLst/>
          </a:prstGeom>
          <a:solidFill>
            <a:srgbClr val="8E1065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4" name="Pentagon 49"/>
          <p:cNvSpPr/>
          <p:nvPr/>
        </p:nvSpPr>
        <p:spPr>
          <a:xfrm>
            <a:off x="1564997" y="4642269"/>
            <a:ext cx="1828383" cy="748602"/>
          </a:xfrm>
          <a:prstGeom prst="homePlate">
            <a:avLst/>
          </a:prstGeom>
          <a:gradFill flip="none" rotWithShape="1">
            <a:gsLst>
              <a:gs pos="0">
                <a:srgbClr val="CF1792">
                  <a:shade val="30000"/>
                  <a:satMod val="115000"/>
                </a:srgbClr>
              </a:gs>
              <a:gs pos="50000">
                <a:srgbClr val="CF1792">
                  <a:shade val="67500"/>
                  <a:satMod val="115000"/>
                </a:srgbClr>
              </a:gs>
              <a:gs pos="100000">
                <a:srgbClr val="CF1792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48718" y="3937113"/>
            <a:ext cx="781561" cy="44865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457200"/>
            <a:r>
              <a:rPr lang="en-US" sz="3600" dirty="0">
                <a:solidFill>
                  <a:prstClr val="white"/>
                </a:solidFill>
              </a:rPr>
              <a:t>02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648718" y="4789379"/>
            <a:ext cx="781561" cy="44865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457200"/>
            <a:r>
              <a:rPr lang="en-US" sz="3600" dirty="0">
                <a:solidFill>
                  <a:prstClr val="white"/>
                </a:solidFill>
              </a:rPr>
              <a:t>03</a:t>
            </a:r>
          </a:p>
        </p:txBody>
      </p:sp>
      <p:sp>
        <p:nvSpPr>
          <p:cNvPr id="63" name="Rectangle 62"/>
          <p:cNvSpPr/>
          <p:nvPr>
            <p:custDataLst>
              <p:tags r:id="rId6"/>
            </p:custDataLst>
          </p:nvPr>
        </p:nvSpPr>
        <p:spPr>
          <a:xfrm>
            <a:off x="1643434" y="4840790"/>
            <a:ext cx="1482771" cy="34009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457200"/>
            <a:r>
              <a:rPr lang="en-US" sz="1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STENCY</a:t>
            </a:r>
          </a:p>
        </p:txBody>
      </p:sp>
      <p:sp>
        <p:nvSpPr>
          <p:cNvPr id="64" name="Rectangle 63"/>
          <p:cNvSpPr/>
          <p:nvPr/>
        </p:nvSpPr>
        <p:spPr>
          <a:xfrm>
            <a:off x="546600" y="2925987"/>
            <a:ext cx="994715" cy="754335"/>
          </a:xfrm>
          <a:prstGeom prst="rect">
            <a:avLst/>
          </a:prstGeom>
          <a:solidFill>
            <a:srgbClr val="8E1065"/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5" name="Pentagon 33"/>
          <p:cNvSpPr/>
          <p:nvPr/>
        </p:nvSpPr>
        <p:spPr>
          <a:xfrm>
            <a:off x="1581125" y="3787136"/>
            <a:ext cx="1812255" cy="748602"/>
          </a:xfrm>
          <a:prstGeom prst="homePlate">
            <a:avLst/>
          </a:prstGeom>
          <a:gradFill flip="none" rotWithShape="1">
            <a:gsLst>
              <a:gs pos="0">
                <a:srgbClr val="CF1792">
                  <a:shade val="30000"/>
                  <a:satMod val="115000"/>
                </a:srgbClr>
              </a:gs>
              <a:gs pos="50000">
                <a:srgbClr val="CF1792">
                  <a:shade val="67500"/>
                  <a:satMod val="115000"/>
                </a:srgbClr>
              </a:gs>
              <a:gs pos="100000">
                <a:srgbClr val="CF1792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48718" y="3078829"/>
            <a:ext cx="781561" cy="44865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457200"/>
            <a:r>
              <a:rPr lang="en-US" sz="3600" dirty="0">
                <a:solidFill>
                  <a:prstClr val="white"/>
                </a:solidFill>
              </a:rPr>
              <a:t>01</a:t>
            </a:r>
          </a:p>
        </p:txBody>
      </p:sp>
      <p:sp>
        <p:nvSpPr>
          <p:cNvPr id="69" name="Rectangle 68"/>
          <p:cNvSpPr/>
          <p:nvPr/>
        </p:nvSpPr>
        <p:spPr>
          <a:xfrm>
            <a:off x="1643434" y="4001137"/>
            <a:ext cx="10529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r>
              <a:rPr lang="en-GB" sz="1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HWAYS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="" xmlns:a16="http://schemas.microsoft.com/office/drawing/2014/main" id="{56454526-8EAC-4336-8FF8-DAE53D0A6D02}"/>
              </a:ext>
            </a:extLst>
          </p:cNvPr>
          <p:cNvSpPr/>
          <p:nvPr/>
        </p:nvSpPr>
        <p:spPr>
          <a:xfrm>
            <a:off x="460643" y="2028510"/>
            <a:ext cx="6338130" cy="4587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>
              <a:lnSpc>
                <a:spcPct val="107000"/>
              </a:lnSpc>
              <a:spcAft>
                <a:spcPts val="800"/>
              </a:spcAft>
            </a:pPr>
            <a:r>
              <a:rPr lang="en-GB" sz="2400" b="1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ur </a:t>
            </a:r>
            <a:r>
              <a:rPr lang="en-GB" sz="2400" b="1" dirty="0" smtClean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hallenge is to improve work with … </a:t>
            </a:r>
            <a:endParaRPr lang="en-GB" sz="2400" dirty="0">
              <a:solidFill>
                <a:srgbClr val="0070C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Straight Connector 69">
            <a:extLst>
              <a:ext uri="{FF2B5EF4-FFF2-40B4-BE49-F238E27FC236}">
                <a16:creationId xmlns="" xmlns:a16="http://schemas.microsoft.com/office/drawing/2014/main" id="{2C6CF239-A72F-4074-95EC-165A7FC2E442}"/>
              </a:ext>
            </a:extLst>
          </p:cNvPr>
          <p:cNvCxnSpPr>
            <a:cxnSpLocks/>
          </p:cNvCxnSpPr>
          <p:nvPr/>
        </p:nvCxnSpPr>
        <p:spPr>
          <a:xfrm flipV="1">
            <a:off x="608978" y="2530545"/>
            <a:ext cx="2660002" cy="1"/>
          </a:xfrm>
          <a:prstGeom prst="line">
            <a:avLst/>
          </a:prstGeom>
          <a:ln w="3175">
            <a:solidFill>
              <a:srgbClr val="F5A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4234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7937" y="6359071"/>
            <a:ext cx="9144000" cy="507523"/>
          </a:xfrm>
          <a:prstGeom prst="rect">
            <a:avLst/>
          </a:prstGeom>
          <a:solidFill>
            <a:srgbClr val="418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14906"/>
            <a:ext cx="7886700" cy="1325563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4" name="Picture 3">
            <a:hlinkClick r:id="" action="ppaction://hlinkshowjump?jump=firstslide"/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780"/>
          <a:stretch/>
        </p:blipFill>
        <p:spPr bwMode="auto">
          <a:xfrm>
            <a:off x="-2" y="-1"/>
            <a:ext cx="9149445" cy="158758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0" name="Group 19"/>
          <p:cNvGrpSpPr/>
          <p:nvPr/>
        </p:nvGrpSpPr>
        <p:grpSpPr>
          <a:xfrm>
            <a:off x="-324321" y="520896"/>
            <a:ext cx="4572000" cy="638636"/>
            <a:chOff x="-324321" y="520896"/>
            <a:chExt cx="4572000" cy="638636"/>
          </a:xfrm>
        </p:grpSpPr>
        <p:sp>
          <p:nvSpPr>
            <p:cNvPr id="21" name="Rectangle 20"/>
            <p:cNvSpPr/>
            <p:nvPr/>
          </p:nvSpPr>
          <p:spPr>
            <a:xfrm>
              <a:off x="-324321" y="520896"/>
              <a:ext cx="45720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57200"/>
              <a:r>
                <a:rPr lang="en-GB" sz="1400" dirty="0">
                  <a:solidFill>
                    <a:prstClr val="white">
                      <a:lumMod val="85000"/>
                    </a:prst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hildren &amp; Young People’s Service 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63929" y="820978"/>
              <a:ext cx="2995500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457200"/>
              <a:r>
                <a:rPr lang="en-GB" sz="1550" dirty="0">
                  <a:solidFill>
                    <a:prstClr val="white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EGRATION PROGRAMME</a:t>
              </a:r>
              <a:endParaRPr lang="en-GB" sz="1550" dirty="0">
                <a:solidFill>
                  <a:prstClr val="white"/>
                </a:solidFill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623532" y="826532"/>
              <a:ext cx="267629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A21C449A-B264-4752-A175-A82C86B1F37D}"/>
              </a:ext>
            </a:extLst>
          </p:cNvPr>
          <p:cNvSpPr/>
          <p:nvPr/>
        </p:nvSpPr>
        <p:spPr>
          <a:xfrm>
            <a:off x="-2" y="1554246"/>
            <a:ext cx="9144000" cy="152962"/>
          </a:xfrm>
          <a:prstGeom prst="rect">
            <a:avLst/>
          </a:prstGeom>
          <a:solidFill>
            <a:srgbClr val="AABE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12467" y="1896311"/>
            <a:ext cx="8285267" cy="42165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/>
            <a:r>
              <a:rPr lang="en-GB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 Front Door </a:t>
            </a:r>
            <a:r>
              <a:rPr lang="en-GB" sz="2400" b="1" dirty="0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2400" b="1" dirty="0">
                <a:solidFill>
                  <a:srgbClr val="660033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2400" b="1" dirty="0">
              <a:solidFill>
                <a:srgbClr val="6600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fully </a:t>
            </a:r>
            <a:r>
              <a:rPr lang="en-GB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ed Front Door for Early Help notifications and Social Care referrals</a:t>
            </a:r>
            <a:endParaRPr lang="en-GB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referral form and single decision making process</a:t>
            </a:r>
            <a:endParaRPr lang="en-GB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le </a:t>
            </a:r>
            <a:r>
              <a:rPr lang="en-GB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ensure safeguarding for all through </a:t>
            </a: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ation and feedback to referrers </a:t>
            </a:r>
            <a:endParaRPr lang="en-GB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igned to ensure more cases can be supported through intensive Early Help 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able </a:t>
            </a:r>
            <a:r>
              <a:rPr lang="en-GB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achieving the best outcomes by </a:t>
            </a:r>
            <a:r>
              <a:rPr lang="en-GB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ressing needs in the right way at the right time</a:t>
            </a:r>
          </a:p>
          <a:p>
            <a:pPr marL="285750" indent="-285750" defTabSz="4572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fective </a:t>
            </a:r>
            <a:r>
              <a:rPr lang="en-GB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</a:t>
            </a: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uring the right children and young people are protected and have support from </a:t>
            </a:r>
            <a:r>
              <a:rPr lang="en-GB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GB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ial Care</a:t>
            </a:r>
            <a:endParaRPr lang="en-GB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463929" y="2362200"/>
            <a:ext cx="2593596" cy="9525"/>
          </a:xfrm>
          <a:prstGeom prst="line">
            <a:avLst/>
          </a:prstGeom>
          <a:ln w="3175">
            <a:solidFill>
              <a:srgbClr val="F5A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4570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7937" y="6359071"/>
            <a:ext cx="9144000" cy="507523"/>
          </a:xfrm>
          <a:prstGeom prst="rect">
            <a:avLst/>
          </a:prstGeom>
          <a:solidFill>
            <a:srgbClr val="418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14906"/>
            <a:ext cx="7886700" cy="1325563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4" name="Picture 3">
            <a:hlinkClick r:id="" action="ppaction://hlinkshowjump?jump=firstslide"/>
          </p:cNvPr>
          <p:cNvPicPr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780"/>
          <a:stretch/>
        </p:blipFill>
        <p:spPr bwMode="auto">
          <a:xfrm>
            <a:off x="-2" y="-1"/>
            <a:ext cx="9149445" cy="158758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0" name="Group 19"/>
          <p:cNvGrpSpPr/>
          <p:nvPr/>
        </p:nvGrpSpPr>
        <p:grpSpPr>
          <a:xfrm>
            <a:off x="-324321" y="520896"/>
            <a:ext cx="4572000" cy="638636"/>
            <a:chOff x="-324321" y="520896"/>
            <a:chExt cx="4572000" cy="638636"/>
          </a:xfrm>
        </p:grpSpPr>
        <p:sp>
          <p:nvSpPr>
            <p:cNvPr id="21" name="Rectangle 20"/>
            <p:cNvSpPr/>
            <p:nvPr/>
          </p:nvSpPr>
          <p:spPr>
            <a:xfrm>
              <a:off x="-324321" y="520896"/>
              <a:ext cx="457200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57200"/>
              <a:r>
                <a:rPr lang="en-GB" sz="1400" dirty="0">
                  <a:solidFill>
                    <a:prstClr val="white">
                      <a:lumMod val="85000"/>
                    </a:prst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hildren &amp; Young People’s Service 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63929" y="820978"/>
              <a:ext cx="2995500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457200"/>
              <a:r>
                <a:rPr lang="en-GB" sz="1550" dirty="0">
                  <a:solidFill>
                    <a:prstClr val="white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EGRATION PROGRAMME</a:t>
              </a:r>
              <a:endParaRPr lang="en-GB" sz="1550" dirty="0">
                <a:solidFill>
                  <a:prstClr val="white"/>
                </a:solidFill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623532" y="826532"/>
              <a:ext cx="267629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A21C449A-B264-4752-A175-A82C86B1F37D}"/>
              </a:ext>
            </a:extLst>
          </p:cNvPr>
          <p:cNvSpPr/>
          <p:nvPr/>
        </p:nvSpPr>
        <p:spPr>
          <a:xfrm>
            <a:off x="-2" y="1554246"/>
            <a:ext cx="9144000" cy="152962"/>
          </a:xfrm>
          <a:prstGeom prst="rect">
            <a:avLst/>
          </a:prstGeom>
          <a:solidFill>
            <a:srgbClr val="AABE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1" name="Freeform 1665"/>
          <p:cNvSpPr>
            <a:spLocks/>
          </p:cNvSpPr>
          <p:nvPr/>
        </p:nvSpPr>
        <p:spPr bwMode="auto">
          <a:xfrm>
            <a:off x="4867624" y="4893400"/>
            <a:ext cx="0" cy="4763"/>
          </a:xfrm>
          <a:custGeom>
            <a:avLst/>
            <a:gdLst>
              <a:gd name="T0" fmla="*/ 1 h 1"/>
              <a:gd name="T1" fmla="*/ 1 h 1"/>
              <a:gd name="T2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">
                <a:moveTo>
                  <a:pt x="0" y="1"/>
                </a:moveTo>
                <a:cubicBezTo>
                  <a:pt x="0" y="1"/>
                  <a:pt x="0" y="1"/>
                  <a:pt x="0" y="1"/>
                </a:cubicBezTo>
                <a:cubicBezTo>
                  <a:pt x="0" y="1"/>
                  <a:pt x="0" y="0"/>
                  <a:pt x="0" y="1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893622" y="2545268"/>
            <a:ext cx="2279737" cy="2279737"/>
          </a:xfrm>
          <a:prstGeom prst="ellipse">
            <a:avLst/>
          </a:prstGeom>
          <a:solidFill>
            <a:schemeClr val="bg2">
              <a:lumMod val="90000"/>
            </a:schemeClr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1064604" y="2717003"/>
            <a:ext cx="1937773" cy="1937773"/>
          </a:xfrm>
          <a:prstGeom prst="ellipse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275665" y="3166662"/>
            <a:ext cx="1515649" cy="4616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457200"/>
            <a:r>
              <a:rPr lang="en-US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G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702182" y="3397495"/>
            <a:ext cx="1515649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457200"/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</a:p>
        </p:txBody>
      </p:sp>
      <p:sp>
        <p:nvSpPr>
          <p:cNvPr id="35" name="Rectangle 34"/>
          <p:cNvSpPr/>
          <p:nvPr>
            <p:custDataLst>
              <p:tags r:id="rId1"/>
            </p:custDataLst>
          </p:nvPr>
        </p:nvSpPr>
        <p:spPr>
          <a:xfrm>
            <a:off x="194407" y="5192788"/>
            <a:ext cx="41526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hort to medium term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ctivities we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n achieve now, to integrate better what we already do </a:t>
            </a:r>
          </a:p>
          <a:p>
            <a:pPr defTabSz="457200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0" name="Rectangle 29"/>
          <p:cNvSpPr/>
          <p:nvPr>
            <p:custDataLst>
              <p:tags r:id="rId2"/>
            </p:custDataLst>
          </p:nvPr>
        </p:nvSpPr>
        <p:spPr>
          <a:xfrm>
            <a:off x="4867624" y="5192788"/>
            <a:ext cx="416369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/>
            <a:r>
              <a:rPr 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um to long term </a:t>
            </a:r>
            <a:r>
              <a:rPr lang="en-US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ities</a:t>
            </a: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develop new more integrated ways of working </a:t>
            </a:r>
          </a:p>
          <a:p>
            <a:pPr defTabSz="457200"/>
            <a:endParaRPr lang="en-US" dirty="0">
              <a:solidFill>
                <a:prstClr val="black"/>
              </a:solidFill>
              <a:latin typeface="Calibri (body)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1758058" y="3811566"/>
            <a:ext cx="550863" cy="563562"/>
            <a:chOff x="5651500" y="2973388"/>
            <a:chExt cx="550863" cy="563562"/>
          </a:xfrm>
          <a:solidFill>
            <a:schemeClr val="accent1">
              <a:lumMod val="50000"/>
            </a:schemeClr>
          </a:solidFill>
        </p:grpSpPr>
        <p:sp>
          <p:nvSpPr>
            <p:cNvPr id="37" name="Freeform 10"/>
            <p:cNvSpPr>
              <a:spLocks noEditPoints="1"/>
            </p:cNvSpPr>
            <p:nvPr/>
          </p:nvSpPr>
          <p:spPr bwMode="auto">
            <a:xfrm>
              <a:off x="5876925" y="2973388"/>
              <a:ext cx="325438" cy="319087"/>
            </a:xfrm>
            <a:custGeom>
              <a:avLst/>
              <a:gdLst>
                <a:gd name="T0" fmla="*/ 135 w 138"/>
                <a:gd name="T1" fmla="*/ 86 h 136"/>
                <a:gd name="T2" fmla="*/ 122 w 138"/>
                <a:gd name="T3" fmla="*/ 79 h 136"/>
                <a:gd name="T4" fmla="*/ 122 w 138"/>
                <a:gd name="T5" fmla="*/ 61 h 136"/>
                <a:gd name="T6" fmla="*/ 135 w 138"/>
                <a:gd name="T7" fmla="*/ 54 h 136"/>
                <a:gd name="T8" fmla="*/ 136 w 138"/>
                <a:gd name="T9" fmla="*/ 48 h 136"/>
                <a:gd name="T10" fmla="*/ 121 w 138"/>
                <a:gd name="T11" fmla="*/ 22 h 136"/>
                <a:gd name="T12" fmla="*/ 119 w 138"/>
                <a:gd name="T13" fmla="*/ 20 h 136"/>
                <a:gd name="T14" fmla="*/ 116 w 138"/>
                <a:gd name="T15" fmla="*/ 20 h 136"/>
                <a:gd name="T16" fmla="*/ 104 w 138"/>
                <a:gd name="T17" fmla="*/ 28 h 136"/>
                <a:gd name="T18" fmla="*/ 89 w 138"/>
                <a:gd name="T19" fmla="*/ 19 h 136"/>
                <a:gd name="T20" fmla="*/ 89 w 138"/>
                <a:gd name="T21" fmla="*/ 4 h 136"/>
                <a:gd name="T22" fmla="*/ 85 w 138"/>
                <a:gd name="T23" fmla="*/ 0 h 136"/>
                <a:gd name="T24" fmla="*/ 55 w 138"/>
                <a:gd name="T25" fmla="*/ 0 h 136"/>
                <a:gd name="T26" fmla="*/ 51 w 138"/>
                <a:gd name="T27" fmla="*/ 4 h 136"/>
                <a:gd name="T28" fmla="*/ 51 w 138"/>
                <a:gd name="T29" fmla="*/ 19 h 136"/>
                <a:gd name="T30" fmla="*/ 35 w 138"/>
                <a:gd name="T31" fmla="*/ 28 h 136"/>
                <a:gd name="T32" fmla="*/ 22 w 138"/>
                <a:gd name="T33" fmla="*/ 20 h 136"/>
                <a:gd name="T34" fmla="*/ 16 w 138"/>
                <a:gd name="T35" fmla="*/ 22 h 136"/>
                <a:gd name="T36" fmla="*/ 1 w 138"/>
                <a:gd name="T37" fmla="*/ 48 h 136"/>
                <a:gd name="T38" fmla="*/ 1 w 138"/>
                <a:gd name="T39" fmla="*/ 51 h 136"/>
                <a:gd name="T40" fmla="*/ 2 w 138"/>
                <a:gd name="T41" fmla="*/ 54 h 136"/>
                <a:gd name="T42" fmla="*/ 15 w 138"/>
                <a:gd name="T43" fmla="*/ 61 h 136"/>
                <a:gd name="T44" fmla="*/ 15 w 138"/>
                <a:gd name="T45" fmla="*/ 79 h 136"/>
                <a:gd name="T46" fmla="*/ 2 w 138"/>
                <a:gd name="T47" fmla="*/ 86 h 136"/>
                <a:gd name="T48" fmla="*/ 0 w 138"/>
                <a:gd name="T49" fmla="*/ 88 h 136"/>
                <a:gd name="T50" fmla="*/ 1 w 138"/>
                <a:gd name="T51" fmla="*/ 91 h 136"/>
                <a:gd name="T52" fmla="*/ 16 w 138"/>
                <a:gd name="T53" fmla="*/ 118 h 136"/>
                <a:gd name="T54" fmla="*/ 21 w 138"/>
                <a:gd name="T55" fmla="*/ 119 h 136"/>
                <a:gd name="T56" fmla="*/ 35 w 138"/>
                <a:gd name="T57" fmla="*/ 112 h 136"/>
                <a:gd name="T58" fmla="*/ 51 w 138"/>
                <a:gd name="T59" fmla="*/ 121 h 136"/>
                <a:gd name="T60" fmla="*/ 51 w 138"/>
                <a:gd name="T61" fmla="*/ 132 h 136"/>
                <a:gd name="T62" fmla="*/ 55 w 138"/>
                <a:gd name="T63" fmla="*/ 136 h 136"/>
                <a:gd name="T64" fmla="*/ 85 w 138"/>
                <a:gd name="T65" fmla="*/ 136 h 136"/>
                <a:gd name="T66" fmla="*/ 89 w 138"/>
                <a:gd name="T67" fmla="*/ 132 h 136"/>
                <a:gd name="T68" fmla="*/ 89 w 138"/>
                <a:gd name="T69" fmla="*/ 120 h 136"/>
                <a:gd name="T70" fmla="*/ 104 w 138"/>
                <a:gd name="T71" fmla="*/ 112 h 136"/>
                <a:gd name="T72" fmla="*/ 116 w 138"/>
                <a:gd name="T73" fmla="*/ 119 h 136"/>
                <a:gd name="T74" fmla="*/ 119 w 138"/>
                <a:gd name="T75" fmla="*/ 120 h 136"/>
                <a:gd name="T76" fmla="*/ 121 w 138"/>
                <a:gd name="T77" fmla="*/ 118 h 136"/>
                <a:gd name="T78" fmla="*/ 136 w 138"/>
                <a:gd name="T79" fmla="*/ 91 h 136"/>
                <a:gd name="T80" fmla="*/ 135 w 138"/>
                <a:gd name="T81" fmla="*/ 86 h 136"/>
                <a:gd name="T82" fmla="*/ 69 w 138"/>
                <a:gd name="T83" fmla="*/ 94 h 136"/>
                <a:gd name="T84" fmla="*/ 44 w 138"/>
                <a:gd name="T85" fmla="*/ 70 h 136"/>
                <a:gd name="T86" fmla="*/ 69 w 138"/>
                <a:gd name="T87" fmla="*/ 46 h 136"/>
                <a:gd name="T88" fmla="*/ 93 w 138"/>
                <a:gd name="T89" fmla="*/ 70 h 136"/>
                <a:gd name="T90" fmla="*/ 69 w 138"/>
                <a:gd name="T91" fmla="*/ 9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8" h="136">
                  <a:moveTo>
                    <a:pt x="135" y="86"/>
                  </a:moveTo>
                  <a:cubicBezTo>
                    <a:pt x="122" y="79"/>
                    <a:pt x="122" y="79"/>
                    <a:pt x="122" y="79"/>
                  </a:cubicBezTo>
                  <a:cubicBezTo>
                    <a:pt x="123" y="73"/>
                    <a:pt x="123" y="67"/>
                    <a:pt x="122" y="61"/>
                  </a:cubicBezTo>
                  <a:cubicBezTo>
                    <a:pt x="135" y="54"/>
                    <a:pt x="135" y="54"/>
                    <a:pt x="135" y="54"/>
                  </a:cubicBezTo>
                  <a:cubicBezTo>
                    <a:pt x="137" y="52"/>
                    <a:pt x="138" y="50"/>
                    <a:pt x="136" y="48"/>
                  </a:cubicBezTo>
                  <a:cubicBezTo>
                    <a:pt x="121" y="22"/>
                    <a:pt x="121" y="22"/>
                    <a:pt x="121" y="22"/>
                  </a:cubicBezTo>
                  <a:cubicBezTo>
                    <a:pt x="121" y="21"/>
                    <a:pt x="120" y="20"/>
                    <a:pt x="119" y="20"/>
                  </a:cubicBezTo>
                  <a:cubicBezTo>
                    <a:pt x="118" y="20"/>
                    <a:pt x="117" y="20"/>
                    <a:pt x="116" y="20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0" y="25"/>
                    <a:pt x="95" y="22"/>
                    <a:pt x="89" y="19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89" y="2"/>
                    <a:pt x="87" y="0"/>
                    <a:pt x="8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3" y="0"/>
                    <a:pt x="51" y="2"/>
                    <a:pt x="51" y="4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43" y="21"/>
                    <a:pt x="39" y="24"/>
                    <a:pt x="35" y="28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0" y="19"/>
                    <a:pt x="17" y="20"/>
                    <a:pt x="16" y="22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0" y="49"/>
                    <a:pt x="0" y="50"/>
                    <a:pt x="1" y="51"/>
                  </a:cubicBezTo>
                  <a:cubicBezTo>
                    <a:pt x="1" y="52"/>
                    <a:pt x="2" y="53"/>
                    <a:pt x="2" y="54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4" y="67"/>
                    <a:pt x="14" y="73"/>
                    <a:pt x="15" y="79"/>
                  </a:cubicBezTo>
                  <a:cubicBezTo>
                    <a:pt x="2" y="86"/>
                    <a:pt x="2" y="86"/>
                    <a:pt x="2" y="86"/>
                  </a:cubicBezTo>
                  <a:cubicBezTo>
                    <a:pt x="1" y="86"/>
                    <a:pt x="1" y="87"/>
                    <a:pt x="0" y="88"/>
                  </a:cubicBezTo>
                  <a:cubicBezTo>
                    <a:pt x="0" y="89"/>
                    <a:pt x="0" y="91"/>
                    <a:pt x="1" y="91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7" y="120"/>
                    <a:pt x="19" y="120"/>
                    <a:pt x="21" y="119"/>
                  </a:cubicBezTo>
                  <a:cubicBezTo>
                    <a:pt x="35" y="112"/>
                    <a:pt x="35" y="112"/>
                    <a:pt x="35" y="112"/>
                  </a:cubicBezTo>
                  <a:cubicBezTo>
                    <a:pt x="39" y="116"/>
                    <a:pt x="43" y="119"/>
                    <a:pt x="51" y="121"/>
                  </a:cubicBezTo>
                  <a:cubicBezTo>
                    <a:pt x="51" y="132"/>
                    <a:pt x="51" y="132"/>
                    <a:pt x="51" y="132"/>
                  </a:cubicBezTo>
                  <a:cubicBezTo>
                    <a:pt x="51" y="134"/>
                    <a:pt x="53" y="136"/>
                    <a:pt x="55" y="136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7" y="136"/>
                    <a:pt x="89" y="134"/>
                    <a:pt x="89" y="132"/>
                  </a:cubicBezTo>
                  <a:cubicBezTo>
                    <a:pt x="89" y="120"/>
                    <a:pt x="89" y="120"/>
                    <a:pt x="89" y="120"/>
                  </a:cubicBezTo>
                  <a:cubicBezTo>
                    <a:pt x="95" y="118"/>
                    <a:pt x="100" y="115"/>
                    <a:pt x="104" y="112"/>
                  </a:cubicBezTo>
                  <a:cubicBezTo>
                    <a:pt x="116" y="119"/>
                    <a:pt x="116" y="119"/>
                    <a:pt x="116" y="119"/>
                  </a:cubicBezTo>
                  <a:cubicBezTo>
                    <a:pt x="117" y="120"/>
                    <a:pt x="118" y="120"/>
                    <a:pt x="119" y="120"/>
                  </a:cubicBezTo>
                  <a:cubicBezTo>
                    <a:pt x="120" y="119"/>
                    <a:pt x="121" y="119"/>
                    <a:pt x="121" y="118"/>
                  </a:cubicBezTo>
                  <a:cubicBezTo>
                    <a:pt x="136" y="91"/>
                    <a:pt x="136" y="91"/>
                    <a:pt x="136" y="91"/>
                  </a:cubicBezTo>
                  <a:cubicBezTo>
                    <a:pt x="138" y="90"/>
                    <a:pt x="137" y="87"/>
                    <a:pt x="135" y="86"/>
                  </a:cubicBezTo>
                  <a:close/>
                  <a:moveTo>
                    <a:pt x="69" y="94"/>
                  </a:moveTo>
                  <a:cubicBezTo>
                    <a:pt x="55" y="94"/>
                    <a:pt x="44" y="83"/>
                    <a:pt x="44" y="70"/>
                  </a:cubicBezTo>
                  <a:cubicBezTo>
                    <a:pt x="44" y="56"/>
                    <a:pt x="55" y="46"/>
                    <a:pt x="69" y="46"/>
                  </a:cubicBezTo>
                  <a:cubicBezTo>
                    <a:pt x="82" y="46"/>
                    <a:pt x="93" y="56"/>
                    <a:pt x="93" y="70"/>
                  </a:cubicBezTo>
                  <a:cubicBezTo>
                    <a:pt x="93" y="83"/>
                    <a:pt x="82" y="94"/>
                    <a:pt x="69" y="9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auto">
            <a:xfrm>
              <a:off x="5651500" y="3217863"/>
              <a:ext cx="322263" cy="319087"/>
            </a:xfrm>
            <a:custGeom>
              <a:avLst/>
              <a:gdLst>
                <a:gd name="T0" fmla="*/ 137 w 137"/>
                <a:gd name="T1" fmla="*/ 48 h 136"/>
                <a:gd name="T2" fmla="*/ 137 w 137"/>
                <a:gd name="T3" fmla="*/ 45 h 136"/>
                <a:gd name="T4" fmla="*/ 122 w 137"/>
                <a:gd name="T5" fmla="*/ 19 h 136"/>
                <a:gd name="T6" fmla="*/ 119 w 137"/>
                <a:gd name="T7" fmla="*/ 17 h 136"/>
                <a:gd name="T8" fmla="*/ 116 w 137"/>
                <a:gd name="T9" fmla="*/ 17 h 136"/>
                <a:gd name="T10" fmla="*/ 104 w 137"/>
                <a:gd name="T11" fmla="*/ 25 h 136"/>
                <a:gd name="T12" fmla="*/ 89 w 137"/>
                <a:gd name="T13" fmla="*/ 16 h 136"/>
                <a:gd name="T14" fmla="*/ 89 w 137"/>
                <a:gd name="T15" fmla="*/ 4 h 136"/>
                <a:gd name="T16" fmla="*/ 85 w 137"/>
                <a:gd name="T17" fmla="*/ 0 h 136"/>
                <a:gd name="T18" fmla="*/ 55 w 137"/>
                <a:gd name="T19" fmla="*/ 0 h 136"/>
                <a:gd name="T20" fmla="*/ 51 w 137"/>
                <a:gd name="T21" fmla="*/ 4 h 136"/>
                <a:gd name="T22" fmla="*/ 51 w 137"/>
                <a:gd name="T23" fmla="*/ 15 h 136"/>
                <a:gd name="T24" fmla="*/ 35 w 137"/>
                <a:gd name="T25" fmla="*/ 25 h 136"/>
                <a:gd name="T26" fmla="*/ 22 w 137"/>
                <a:gd name="T27" fmla="*/ 17 h 136"/>
                <a:gd name="T28" fmla="*/ 16 w 137"/>
                <a:gd name="T29" fmla="*/ 19 h 136"/>
                <a:gd name="T30" fmla="*/ 1 w 137"/>
                <a:gd name="T31" fmla="*/ 45 h 136"/>
                <a:gd name="T32" fmla="*/ 1 w 137"/>
                <a:gd name="T33" fmla="*/ 48 h 136"/>
                <a:gd name="T34" fmla="*/ 3 w 137"/>
                <a:gd name="T35" fmla="*/ 50 h 136"/>
                <a:gd name="T36" fmla="*/ 15 w 137"/>
                <a:gd name="T37" fmla="*/ 58 h 136"/>
                <a:gd name="T38" fmla="*/ 15 w 137"/>
                <a:gd name="T39" fmla="*/ 76 h 136"/>
                <a:gd name="T40" fmla="*/ 3 w 137"/>
                <a:gd name="T41" fmla="*/ 83 h 136"/>
                <a:gd name="T42" fmla="*/ 1 w 137"/>
                <a:gd name="T43" fmla="*/ 85 h 136"/>
                <a:gd name="T44" fmla="*/ 1 w 137"/>
                <a:gd name="T45" fmla="*/ 88 h 136"/>
                <a:gd name="T46" fmla="*/ 16 w 137"/>
                <a:gd name="T47" fmla="*/ 114 h 136"/>
                <a:gd name="T48" fmla="*/ 22 w 137"/>
                <a:gd name="T49" fmla="*/ 116 h 136"/>
                <a:gd name="T50" fmla="*/ 35 w 137"/>
                <a:gd name="T51" fmla="*/ 109 h 136"/>
                <a:gd name="T52" fmla="*/ 51 w 137"/>
                <a:gd name="T53" fmla="*/ 118 h 136"/>
                <a:gd name="T54" fmla="*/ 51 w 137"/>
                <a:gd name="T55" fmla="*/ 132 h 136"/>
                <a:gd name="T56" fmla="*/ 55 w 137"/>
                <a:gd name="T57" fmla="*/ 136 h 136"/>
                <a:gd name="T58" fmla="*/ 85 w 137"/>
                <a:gd name="T59" fmla="*/ 136 h 136"/>
                <a:gd name="T60" fmla="*/ 89 w 137"/>
                <a:gd name="T61" fmla="*/ 132 h 136"/>
                <a:gd name="T62" fmla="*/ 89 w 137"/>
                <a:gd name="T63" fmla="*/ 117 h 136"/>
                <a:gd name="T64" fmla="*/ 104 w 137"/>
                <a:gd name="T65" fmla="*/ 109 h 136"/>
                <a:gd name="T66" fmla="*/ 116 w 137"/>
                <a:gd name="T67" fmla="*/ 116 h 136"/>
                <a:gd name="T68" fmla="*/ 119 w 137"/>
                <a:gd name="T69" fmla="*/ 116 h 136"/>
                <a:gd name="T70" fmla="*/ 122 w 137"/>
                <a:gd name="T71" fmla="*/ 114 h 136"/>
                <a:gd name="T72" fmla="*/ 137 w 137"/>
                <a:gd name="T73" fmla="*/ 88 h 136"/>
                <a:gd name="T74" fmla="*/ 137 w 137"/>
                <a:gd name="T75" fmla="*/ 85 h 136"/>
                <a:gd name="T76" fmla="*/ 135 w 137"/>
                <a:gd name="T77" fmla="*/ 83 h 136"/>
                <a:gd name="T78" fmla="*/ 123 w 137"/>
                <a:gd name="T79" fmla="*/ 76 h 136"/>
                <a:gd name="T80" fmla="*/ 123 w 137"/>
                <a:gd name="T81" fmla="*/ 58 h 136"/>
                <a:gd name="T82" fmla="*/ 135 w 137"/>
                <a:gd name="T83" fmla="*/ 50 h 136"/>
                <a:gd name="T84" fmla="*/ 137 w 137"/>
                <a:gd name="T85" fmla="*/ 48 h 136"/>
                <a:gd name="T86" fmla="*/ 69 w 137"/>
                <a:gd name="T87" fmla="*/ 91 h 136"/>
                <a:gd name="T88" fmla="*/ 45 w 137"/>
                <a:gd name="T89" fmla="*/ 67 h 136"/>
                <a:gd name="T90" fmla="*/ 69 w 137"/>
                <a:gd name="T91" fmla="*/ 42 h 136"/>
                <a:gd name="T92" fmla="*/ 93 w 137"/>
                <a:gd name="T93" fmla="*/ 67 h 136"/>
                <a:gd name="T94" fmla="*/ 69 w 137"/>
                <a:gd name="T95" fmla="*/ 9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37" h="136">
                  <a:moveTo>
                    <a:pt x="137" y="48"/>
                  </a:moveTo>
                  <a:cubicBezTo>
                    <a:pt x="137" y="47"/>
                    <a:pt x="137" y="46"/>
                    <a:pt x="137" y="45"/>
                  </a:cubicBezTo>
                  <a:cubicBezTo>
                    <a:pt x="122" y="19"/>
                    <a:pt x="122" y="19"/>
                    <a:pt x="122" y="19"/>
                  </a:cubicBezTo>
                  <a:cubicBezTo>
                    <a:pt x="121" y="18"/>
                    <a:pt x="120" y="17"/>
                    <a:pt x="119" y="17"/>
                  </a:cubicBezTo>
                  <a:cubicBezTo>
                    <a:pt x="118" y="17"/>
                    <a:pt x="117" y="17"/>
                    <a:pt x="116" y="17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0" y="22"/>
                    <a:pt x="95" y="19"/>
                    <a:pt x="89" y="16"/>
                  </a:cubicBezTo>
                  <a:cubicBezTo>
                    <a:pt x="89" y="4"/>
                    <a:pt x="89" y="4"/>
                    <a:pt x="89" y="4"/>
                  </a:cubicBezTo>
                  <a:cubicBezTo>
                    <a:pt x="89" y="2"/>
                    <a:pt x="87" y="0"/>
                    <a:pt x="8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3" y="0"/>
                    <a:pt x="51" y="2"/>
                    <a:pt x="51" y="4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43" y="18"/>
                    <a:pt x="39" y="21"/>
                    <a:pt x="35" y="25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0" y="16"/>
                    <a:pt x="18" y="17"/>
                    <a:pt x="16" y="19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6"/>
                    <a:pt x="1" y="47"/>
                    <a:pt x="1" y="48"/>
                  </a:cubicBezTo>
                  <a:cubicBezTo>
                    <a:pt x="1" y="49"/>
                    <a:pt x="2" y="50"/>
                    <a:pt x="3" y="50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4" y="64"/>
                    <a:pt x="14" y="70"/>
                    <a:pt x="15" y="76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2" y="83"/>
                    <a:pt x="1" y="84"/>
                    <a:pt x="1" y="85"/>
                  </a:cubicBezTo>
                  <a:cubicBezTo>
                    <a:pt x="0" y="86"/>
                    <a:pt x="1" y="87"/>
                    <a:pt x="1" y="88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7" y="116"/>
                    <a:pt x="20" y="117"/>
                    <a:pt x="22" y="116"/>
                  </a:cubicBezTo>
                  <a:cubicBezTo>
                    <a:pt x="35" y="109"/>
                    <a:pt x="35" y="109"/>
                    <a:pt x="35" y="109"/>
                  </a:cubicBezTo>
                  <a:cubicBezTo>
                    <a:pt x="39" y="112"/>
                    <a:pt x="43" y="116"/>
                    <a:pt x="51" y="118"/>
                  </a:cubicBezTo>
                  <a:cubicBezTo>
                    <a:pt x="51" y="132"/>
                    <a:pt x="51" y="132"/>
                    <a:pt x="51" y="132"/>
                  </a:cubicBezTo>
                  <a:cubicBezTo>
                    <a:pt x="51" y="134"/>
                    <a:pt x="53" y="136"/>
                    <a:pt x="55" y="136"/>
                  </a:cubicBezTo>
                  <a:cubicBezTo>
                    <a:pt x="85" y="136"/>
                    <a:pt x="85" y="136"/>
                    <a:pt x="85" y="136"/>
                  </a:cubicBezTo>
                  <a:cubicBezTo>
                    <a:pt x="87" y="136"/>
                    <a:pt x="89" y="134"/>
                    <a:pt x="89" y="132"/>
                  </a:cubicBezTo>
                  <a:cubicBezTo>
                    <a:pt x="89" y="117"/>
                    <a:pt x="89" y="117"/>
                    <a:pt x="89" y="117"/>
                  </a:cubicBezTo>
                  <a:cubicBezTo>
                    <a:pt x="95" y="114"/>
                    <a:pt x="100" y="112"/>
                    <a:pt x="104" y="109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17" y="116"/>
                    <a:pt x="118" y="117"/>
                    <a:pt x="119" y="116"/>
                  </a:cubicBezTo>
                  <a:cubicBezTo>
                    <a:pt x="120" y="116"/>
                    <a:pt x="121" y="115"/>
                    <a:pt x="122" y="114"/>
                  </a:cubicBezTo>
                  <a:cubicBezTo>
                    <a:pt x="137" y="88"/>
                    <a:pt x="137" y="88"/>
                    <a:pt x="137" y="88"/>
                  </a:cubicBezTo>
                  <a:cubicBezTo>
                    <a:pt x="137" y="87"/>
                    <a:pt x="137" y="86"/>
                    <a:pt x="137" y="85"/>
                  </a:cubicBezTo>
                  <a:cubicBezTo>
                    <a:pt x="137" y="84"/>
                    <a:pt x="136" y="83"/>
                    <a:pt x="135" y="83"/>
                  </a:cubicBezTo>
                  <a:cubicBezTo>
                    <a:pt x="123" y="76"/>
                    <a:pt x="123" y="76"/>
                    <a:pt x="123" y="76"/>
                  </a:cubicBezTo>
                  <a:cubicBezTo>
                    <a:pt x="124" y="70"/>
                    <a:pt x="124" y="64"/>
                    <a:pt x="123" y="58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6" y="50"/>
                    <a:pt x="137" y="49"/>
                    <a:pt x="137" y="48"/>
                  </a:cubicBezTo>
                  <a:close/>
                  <a:moveTo>
                    <a:pt x="69" y="91"/>
                  </a:moveTo>
                  <a:cubicBezTo>
                    <a:pt x="56" y="91"/>
                    <a:pt x="45" y="80"/>
                    <a:pt x="45" y="67"/>
                  </a:cubicBezTo>
                  <a:cubicBezTo>
                    <a:pt x="45" y="53"/>
                    <a:pt x="56" y="42"/>
                    <a:pt x="69" y="42"/>
                  </a:cubicBezTo>
                  <a:cubicBezTo>
                    <a:pt x="82" y="42"/>
                    <a:pt x="93" y="53"/>
                    <a:pt x="93" y="67"/>
                  </a:cubicBezTo>
                  <a:cubicBezTo>
                    <a:pt x="93" y="80"/>
                    <a:pt x="82" y="91"/>
                    <a:pt x="69" y="91"/>
                  </a:cubicBez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/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5954767" y="2545268"/>
            <a:ext cx="2279737" cy="2279737"/>
            <a:chOff x="5954767" y="2545268"/>
            <a:chExt cx="2279737" cy="2279737"/>
          </a:xfrm>
        </p:grpSpPr>
        <p:sp>
          <p:nvSpPr>
            <p:cNvPr id="15" name="Oval 14"/>
            <p:cNvSpPr/>
            <p:nvPr/>
          </p:nvSpPr>
          <p:spPr>
            <a:xfrm>
              <a:off x="5954767" y="2545268"/>
              <a:ext cx="2279737" cy="2279737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6125749" y="2717003"/>
              <a:ext cx="1937773" cy="1937773"/>
            </a:xfrm>
            <a:prstGeom prst="ellipse">
              <a:avLst/>
            </a:prstGeom>
            <a:solidFill>
              <a:srgbClr val="CC0000"/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6231279" y="3248236"/>
              <a:ext cx="1726711" cy="46166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457200"/>
              <a:r>
                <a:rPr lang="en-US" sz="24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NOVATE</a:t>
              </a:r>
            </a:p>
          </p:txBody>
        </p:sp>
        <p:grpSp>
          <p:nvGrpSpPr>
            <p:cNvPr id="41" name="Group 40"/>
            <p:cNvGrpSpPr>
              <a:grpSpLocks noChangeAspect="1"/>
            </p:cNvGrpSpPr>
            <p:nvPr/>
          </p:nvGrpSpPr>
          <p:grpSpPr>
            <a:xfrm>
              <a:off x="6788634" y="3780997"/>
              <a:ext cx="612000" cy="612000"/>
              <a:chOff x="9375566" y="2717245"/>
              <a:chExt cx="1795057" cy="1795057"/>
            </a:xfrm>
          </p:grpSpPr>
          <p:sp>
            <p:nvSpPr>
              <p:cNvPr id="42" name="Oval 41"/>
              <p:cNvSpPr/>
              <p:nvPr/>
            </p:nvSpPr>
            <p:spPr>
              <a:xfrm>
                <a:off x="9375566" y="2717245"/>
                <a:ext cx="1795057" cy="1795057"/>
              </a:xfrm>
              <a:prstGeom prst="ellipse">
                <a:avLst/>
              </a:prstGeom>
              <a:solidFill>
                <a:srgbClr val="CC0000"/>
              </a:solidFill>
              <a:ln>
                <a:noFill/>
              </a:ln>
              <a:effectLst>
                <a:outerShdw blurRad="25400" dist="38100" dir="2400000" algn="ctr" rotWithShape="0">
                  <a:srgbClr val="000000">
                    <a:alpha val="1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/>
                <a:endParaRPr lang="en-US" dirty="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43" name="Group 42"/>
              <p:cNvGrpSpPr/>
              <p:nvPr/>
            </p:nvGrpSpPr>
            <p:grpSpPr>
              <a:xfrm>
                <a:off x="9858908" y="3033166"/>
                <a:ext cx="828373" cy="1163214"/>
                <a:chOff x="10499725" y="2767013"/>
                <a:chExt cx="903288" cy="1268412"/>
              </a:xfrm>
              <a:solidFill>
                <a:schemeClr val="bg1"/>
              </a:solidFill>
              <a:effectLst/>
            </p:grpSpPr>
            <p:sp>
              <p:nvSpPr>
                <p:cNvPr id="44" name="Freeform 5"/>
                <p:cNvSpPr>
                  <a:spLocks/>
                </p:cNvSpPr>
                <p:nvPr/>
              </p:nvSpPr>
              <p:spPr bwMode="auto">
                <a:xfrm>
                  <a:off x="10499725" y="2767013"/>
                  <a:ext cx="903288" cy="898525"/>
                </a:xfrm>
                <a:custGeom>
                  <a:avLst/>
                  <a:gdLst>
                    <a:gd name="T0" fmla="*/ 68 w 136"/>
                    <a:gd name="T1" fmla="*/ 0 h 136"/>
                    <a:gd name="T2" fmla="*/ 0 w 136"/>
                    <a:gd name="T3" fmla="*/ 68 h 136"/>
                    <a:gd name="T4" fmla="*/ 64 w 136"/>
                    <a:gd name="T5" fmla="*/ 136 h 136"/>
                    <a:gd name="T6" fmla="*/ 64 w 136"/>
                    <a:gd name="T7" fmla="*/ 102 h 136"/>
                    <a:gd name="T8" fmla="*/ 59 w 136"/>
                    <a:gd name="T9" fmla="*/ 107 h 136"/>
                    <a:gd name="T10" fmla="*/ 53 w 136"/>
                    <a:gd name="T11" fmla="*/ 107 h 136"/>
                    <a:gd name="T12" fmla="*/ 41 w 136"/>
                    <a:gd name="T13" fmla="*/ 95 h 136"/>
                    <a:gd name="T14" fmla="*/ 41 w 136"/>
                    <a:gd name="T15" fmla="*/ 89 h 136"/>
                    <a:gd name="T16" fmla="*/ 47 w 136"/>
                    <a:gd name="T17" fmla="*/ 89 h 136"/>
                    <a:gd name="T18" fmla="*/ 56 w 136"/>
                    <a:gd name="T19" fmla="*/ 98 h 136"/>
                    <a:gd name="T20" fmla="*/ 65 w 136"/>
                    <a:gd name="T21" fmla="*/ 89 h 136"/>
                    <a:gd name="T22" fmla="*/ 66 w 136"/>
                    <a:gd name="T23" fmla="*/ 88 h 136"/>
                    <a:gd name="T24" fmla="*/ 70 w 136"/>
                    <a:gd name="T25" fmla="*/ 88 h 136"/>
                    <a:gd name="T26" fmla="*/ 71 w 136"/>
                    <a:gd name="T27" fmla="*/ 89 h 136"/>
                    <a:gd name="T28" fmla="*/ 80 w 136"/>
                    <a:gd name="T29" fmla="*/ 98 h 136"/>
                    <a:gd name="T30" fmla="*/ 89 w 136"/>
                    <a:gd name="T31" fmla="*/ 89 h 136"/>
                    <a:gd name="T32" fmla="*/ 95 w 136"/>
                    <a:gd name="T33" fmla="*/ 89 h 136"/>
                    <a:gd name="T34" fmla="*/ 95 w 136"/>
                    <a:gd name="T35" fmla="*/ 95 h 136"/>
                    <a:gd name="T36" fmla="*/ 83 w 136"/>
                    <a:gd name="T37" fmla="*/ 107 h 136"/>
                    <a:gd name="T38" fmla="*/ 80 w 136"/>
                    <a:gd name="T39" fmla="*/ 108 h 136"/>
                    <a:gd name="T40" fmla="*/ 77 w 136"/>
                    <a:gd name="T41" fmla="*/ 107 h 136"/>
                    <a:gd name="T42" fmla="*/ 72 w 136"/>
                    <a:gd name="T43" fmla="*/ 102 h 136"/>
                    <a:gd name="T44" fmla="*/ 72 w 136"/>
                    <a:gd name="T45" fmla="*/ 136 h 136"/>
                    <a:gd name="T46" fmla="*/ 136 w 136"/>
                    <a:gd name="T47" fmla="*/ 68 h 136"/>
                    <a:gd name="T48" fmla="*/ 68 w 136"/>
                    <a:gd name="T49" fmla="*/ 0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36" h="136">
                      <a:moveTo>
                        <a:pt x="68" y="0"/>
                      </a:moveTo>
                      <a:cubicBezTo>
                        <a:pt x="31" y="0"/>
                        <a:pt x="0" y="31"/>
                        <a:pt x="0" y="68"/>
                      </a:cubicBezTo>
                      <a:cubicBezTo>
                        <a:pt x="0" y="104"/>
                        <a:pt x="28" y="134"/>
                        <a:pt x="64" y="136"/>
                      </a:cubicBezTo>
                      <a:cubicBezTo>
                        <a:pt x="64" y="102"/>
                        <a:pt x="64" y="102"/>
                        <a:pt x="64" y="102"/>
                      </a:cubicBezTo>
                      <a:cubicBezTo>
                        <a:pt x="59" y="107"/>
                        <a:pt x="59" y="107"/>
                        <a:pt x="59" y="107"/>
                      </a:cubicBezTo>
                      <a:cubicBezTo>
                        <a:pt x="57" y="108"/>
                        <a:pt x="55" y="108"/>
                        <a:pt x="53" y="107"/>
                      </a:cubicBezTo>
                      <a:cubicBezTo>
                        <a:pt x="41" y="95"/>
                        <a:pt x="41" y="95"/>
                        <a:pt x="41" y="95"/>
                      </a:cubicBezTo>
                      <a:cubicBezTo>
                        <a:pt x="40" y="93"/>
                        <a:pt x="40" y="91"/>
                        <a:pt x="41" y="89"/>
                      </a:cubicBezTo>
                      <a:cubicBezTo>
                        <a:pt x="43" y="88"/>
                        <a:pt x="45" y="88"/>
                        <a:pt x="47" y="89"/>
                      </a:cubicBezTo>
                      <a:cubicBezTo>
                        <a:pt x="56" y="98"/>
                        <a:pt x="56" y="98"/>
                        <a:pt x="56" y="98"/>
                      </a:cubicBezTo>
                      <a:cubicBezTo>
                        <a:pt x="65" y="89"/>
                        <a:pt x="65" y="89"/>
                        <a:pt x="65" y="89"/>
                      </a:cubicBezTo>
                      <a:cubicBezTo>
                        <a:pt x="66" y="89"/>
                        <a:pt x="66" y="89"/>
                        <a:pt x="66" y="88"/>
                      </a:cubicBezTo>
                      <a:cubicBezTo>
                        <a:pt x="67" y="88"/>
                        <a:pt x="69" y="88"/>
                        <a:pt x="70" y="88"/>
                      </a:cubicBezTo>
                      <a:cubicBezTo>
                        <a:pt x="70" y="89"/>
                        <a:pt x="70" y="89"/>
                        <a:pt x="71" y="89"/>
                      </a:cubicBezTo>
                      <a:cubicBezTo>
                        <a:pt x="80" y="98"/>
                        <a:pt x="80" y="98"/>
                        <a:pt x="80" y="98"/>
                      </a:cubicBezTo>
                      <a:cubicBezTo>
                        <a:pt x="89" y="89"/>
                        <a:pt x="89" y="89"/>
                        <a:pt x="89" y="89"/>
                      </a:cubicBezTo>
                      <a:cubicBezTo>
                        <a:pt x="91" y="88"/>
                        <a:pt x="93" y="88"/>
                        <a:pt x="95" y="89"/>
                      </a:cubicBezTo>
                      <a:cubicBezTo>
                        <a:pt x="96" y="91"/>
                        <a:pt x="96" y="93"/>
                        <a:pt x="95" y="95"/>
                      </a:cubicBezTo>
                      <a:cubicBezTo>
                        <a:pt x="83" y="107"/>
                        <a:pt x="83" y="107"/>
                        <a:pt x="83" y="107"/>
                      </a:cubicBezTo>
                      <a:cubicBezTo>
                        <a:pt x="82" y="108"/>
                        <a:pt x="81" y="108"/>
                        <a:pt x="80" y="108"/>
                      </a:cubicBezTo>
                      <a:cubicBezTo>
                        <a:pt x="79" y="108"/>
                        <a:pt x="78" y="108"/>
                        <a:pt x="77" y="107"/>
                      </a:cubicBezTo>
                      <a:cubicBezTo>
                        <a:pt x="72" y="102"/>
                        <a:pt x="72" y="102"/>
                        <a:pt x="72" y="102"/>
                      </a:cubicBezTo>
                      <a:cubicBezTo>
                        <a:pt x="72" y="136"/>
                        <a:pt x="72" y="136"/>
                        <a:pt x="72" y="136"/>
                      </a:cubicBezTo>
                      <a:cubicBezTo>
                        <a:pt x="108" y="134"/>
                        <a:pt x="136" y="104"/>
                        <a:pt x="136" y="68"/>
                      </a:cubicBezTo>
                      <a:cubicBezTo>
                        <a:pt x="136" y="31"/>
                        <a:pt x="105" y="0"/>
                        <a:pt x="6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5" name="Freeform 6"/>
                <p:cNvSpPr>
                  <a:spLocks/>
                </p:cNvSpPr>
                <p:nvPr/>
              </p:nvSpPr>
              <p:spPr bwMode="auto">
                <a:xfrm>
                  <a:off x="10791825" y="3717925"/>
                  <a:ext cx="319088" cy="53975"/>
                </a:xfrm>
                <a:custGeom>
                  <a:avLst/>
                  <a:gdLst>
                    <a:gd name="T0" fmla="*/ 44 w 48"/>
                    <a:gd name="T1" fmla="*/ 0 h 8"/>
                    <a:gd name="T2" fmla="*/ 4 w 48"/>
                    <a:gd name="T3" fmla="*/ 0 h 8"/>
                    <a:gd name="T4" fmla="*/ 0 w 48"/>
                    <a:gd name="T5" fmla="*/ 4 h 8"/>
                    <a:gd name="T6" fmla="*/ 4 w 48"/>
                    <a:gd name="T7" fmla="*/ 8 h 8"/>
                    <a:gd name="T8" fmla="*/ 44 w 48"/>
                    <a:gd name="T9" fmla="*/ 8 h 8"/>
                    <a:gd name="T10" fmla="*/ 48 w 48"/>
                    <a:gd name="T11" fmla="*/ 4 h 8"/>
                    <a:gd name="T12" fmla="*/ 44 w 48"/>
                    <a:gd name="T1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8">
                      <a:moveTo>
                        <a:pt x="4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2"/>
                        <a:pt x="0" y="4"/>
                      </a:cubicBezTo>
                      <a:cubicBezTo>
                        <a:pt x="0" y="6"/>
                        <a:pt x="2" y="8"/>
                        <a:pt x="4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6" y="8"/>
                        <a:pt x="48" y="6"/>
                        <a:pt x="48" y="4"/>
                      </a:cubicBezTo>
                      <a:cubicBezTo>
                        <a:pt x="48" y="2"/>
                        <a:pt x="46" y="0"/>
                        <a:pt x="4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6" name="Freeform 7"/>
                <p:cNvSpPr>
                  <a:spLocks/>
                </p:cNvSpPr>
                <p:nvPr/>
              </p:nvSpPr>
              <p:spPr bwMode="auto">
                <a:xfrm>
                  <a:off x="10791825" y="3824288"/>
                  <a:ext cx="319088" cy="52387"/>
                </a:xfrm>
                <a:custGeom>
                  <a:avLst/>
                  <a:gdLst>
                    <a:gd name="T0" fmla="*/ 44 w 48"/>
                    <a:gd name="T1" fmla="*/ 0 h 8"/>
                    <a:gd name="T2" fmla="*/ 4 w 48"/>
                    <a:gd name="T3" fmla="*/ 0 h 8"/>
                    <a:gd name="T4" fmla="*/ 0 w 48"/>
                    <a:gd name="T5" fmla="*/ 4 h 8"/>
                    <a:gd name="T6" fmla="*/ 4 w 48"/>
                    <a:gd name="T7" fmla="*/ 8 h 8"/>
                    <a:gd name="T8" fmla="*/ 44 w 48"/>
                    <a:gd name="T9" fmla="*/ 8 h 8"/>
                    <a:gd name="T10" fmla="*/ 48 w 48"/>
                    <a:gd name="T11" fmla="*/ 4 h 8"/>
                    <a:gd name="T12" fmla="*/ 44 w 48"/>
                    <a:gd name="T1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8">
                      <a:moveTo>
                        <a:pt x="4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2"/>
                        <a:pt x="0" y="4"/>
                      </a:cubicBezTo>
                      <a:cubicBezTo>
                        <a:pt x="0" y="6"/>
                        <a:pt x="2" y="8"/>
                        <a:pt x="4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6" y="8"/>
                        <a:pt x="48" y="6"/>
                        <a:pt x="48" y="4"/>
                      </a:cubicBezTo>
                      <a:cubicBezTo>
                        <a:pt x="48" y="2"/>
                        <a:pt x="46" y="0"/>
                        <a:pt x="4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47" name="Freeform 8"/>
                <p:cNvSpPr>
                  <a:spLocks/>
                </p:cNvSpPr>
                <p:nvPr/>
              </p:nvSpPr>
              <p:spPr bwMode="auto">
                <a:xfrm>
                  <a:off x="10791825" y="3929063"/>
                  <a:ext cx="319088" cy="106362"/>
                </a:xfrm>
                <a:custGeom>
                  <a:avLst/>
                  <a:gdLst>
                    <a:gd name="T0" fmla="*/ 44 w 48"/>
                    <a:gd name="T1" fmla="*/ 0 h 16"/>
                    <a:gd name="T2" fmla="*/ 4 w 48"/>
                    <a:gd name="T3" fmla="*/ 0 h 16"/>
                    <a:gd name="T4" fmla="*/ 0 w 48"/>
                    <a:gd name="T5" fmla="*/ 4 h 16"/>
                    <a:gd name="T6" fmla="*/ 4 w 48"/>
                    <a:gd name="T7" fmla="*/ 8 h 16"/>
                    <a:gd name="T8" fmla="*/ 20 w 48"/>
                    <a:gd name="T9" fmla="*/ 8 h 16"/>
                    <a:gd name="T10" fmla="*/ 20 w 48"/>
                    <a:gd name="T11" fmla="*/ 12 h 16"/>
                    <a:gd name="T12" fmla="*/ 24 w 48"/>
                    <a:gd name="T13" fmla="*/ 16 h 16"/>
                    <a:gd name="T14" fmla="*/ 28 w 48"/>
                    <a:gd name="T15" fmla="*/ 12 h 16"/>
                    <a:gd name="T16" fmla="*/ 28 w 48"/>
                    <a:gd name="T17" fmla="*/ 8 h 16"/>
                    <a:gd name="T18" fmla="*/ 44 w 48"/>
                    <a:gd name="T19" fmla="*/ 8 h 16"/>
                    <a:gd name="T20" fmla="*/ 48 w 48"/>
                    <a:gd name="T21" fmla="*/ 4 h 16"/>
                    <a:gd name="T22" fmla="*/ 44 w 48"/>
                    <a:gd name="T23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8" h="16">
                      <a:moveTo>
                        <a:pt x="4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2"/>
                        <a:pt x="0" y="4"/>
                      </a:cubicBezTo>
                      <a:cubicBezTo>
                        <a:pt x="0" y="6"/>
                        <a:pt x="2" y="8"/>
                        <a:pt x="4" y="8"/>
                      </a:cubicBezTo>
                      <a:cubicBezTo>
                        <a:pt x="20" y="8"/>
                        <a:pt x="20" y="8"/>
                        <a:pt x="20" y="8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14"/>
                        <a:pt x="22" y="16"/>
                        <a:pt x="24" y="16"/>
                      </a:cubicBezTo>
                      <a:cubicBezTo>
                        <a:pt x="26" y="16"/>
                        <a:pt x="28" y="14"/>
                        <a:pt x="28" y="1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6" y="8"/>
                        <a:pt x="48" y="6"/>
                        <a:pt x="48" y="4"/>
                      </a:cubicBezTo>
                      <a:cubicBezTo>
                        <a:pt x="48" y="2"/>
                        <a:pt x="46" y="0"/>
                        <a:pt x="4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5" name="TextBox 4"/>
          <p:cNvSpPr txBox="1"/>
          <p:nvPr/>
        </p:nvSpPr>
        <p:spPr>
          <a:xfrm>
            <a:off x="531166" y="1878126"/>
            <a:ext cx="33457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GB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gration </a:t>
            </a:r>
            <a:r>
              <a:rPr lang="en-GB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als</a:t>
            </a:r>
            <a:endParaRPr lang="en-GB" sz="2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637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7938" y="6359525"/>
            <a:ext cx="9156701" cy="506413"/>
          </a:xfrm>
          <a:prstGeom prst="rect">
            <a:avLst/>
          </a:prstGeom>
          <a:solidFill>
            <a:srgbClr val="418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628650" y="314325"/>
            <a:ext cx="7886700" cy="1325563"/>
          </a:xfrm>
        </p:spPr>
        <p:txBody>
          <a:bodyPr/>
          <a:lstStyle/>
          <a:p>
            <a:endParaRPr lang="en-GB"/>
          </a:p>
        </p:txBody>
      </p:sp>
      <p:pic>
        <p:nvPicPr>
          <p:cNvPr id="25603" name="Picture 3">
            <a:hlinkClick r:id="" action="ppaction://hlinkshowjump?jump=firstslide"/>
          </p:cNvPr>
          <p:cNvPicPr>
            <a:picLocks noChangeAspect="1" noChangeArrowheads="1"/>
          </p:cNvPicPr>
          <p:nvPr/>
        </p:nvPicPr>
        <p:blipFill>
          <a:blip r:embed="rId3"/>
          <a:srcRect b="87781"/>
          <a:stretch>
            <a:fillRect/>
          </a:stretch>
        </p:blipFill>
        <p:spPr bwMode="auto">
          <a:xfrm>
            <a:off x="0" y="0"/>
            <a:ext cx="9148763" cy="158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5604" name="Group 19"/>
          <p:cNvGrpSpPr>
            <a:grpSpLocks/>
          </p:cNvGrpSpPr>
          <p:nvPr/>
        </p:nvGrpSpPr>
        <p:grpSpPr bwMode="auto">
          <a:xfrm>
            <a:off x="-323850" y="520700"/>
            <a:ext cx="4572000" cy="638175"/>
            <a:chOff x="-324321" y="520896"/>
            <a:chExt cx="4572000" cy="638636"/>
          </a:xfrm>
        </p:grpSpPr>
        <p:sp>
          <p:nvSpPr>
            <p:cNvPr id="21" name="Rectangle 20"/>
            <p:cNvSpPr/>
            <p:nvPr/>
          </p:nvSpPr>
          <p:spPr>
            <a:xfrm>
              <a:off x="-324321" y="520896"/>
              <a:ext cx="4572000" cy="30819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defTabSz="457200">
                <a:defRPr/>
              </a:pPr>
              <a:r>
                <a:rPr lang="en-GB" sz="1400" dirty="0">
                  <a:solidFill>
                    <a:prstClr val="white">
                      <a:lumMod val="85000"/>
                    </a:prst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hildren &amp; Young People’s Service 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64667" y="821151"/>
              <a:ext cx="2994025" cy="33838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457200">
                <a:defRPr/>
              </a:pPr>
              <a:r>
                <a:rPr lang="en-GB" sz="1550" dirty="0">
                  <a:solidFill>
                    <a:prstClr val="white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INTEGRATION PROGRAMME</a:t>
              </a:r>
              <a:endParaRPr lang="en-GB" sz="1550" dirty="0">
                <a:solidFill>
                  <a:prstClr val="white"/>
                </a:solidFill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623417" y="825916"/>
              <a:ext cx="2676525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31">
            <a:extLst/>
          </p:cNvPr>
          <p:cNvSpPr/>
          <p:nvPr/>
        </p:nvSpPr>
        <p:spPr>
          <a:xfrm>
            <a:off x="0" y="1554163"/>
            <a:ext cx="9144000" cy="152400"/>
          </a:xfrm>
          <a:prstGeom prst="rect">
            <a:avLst/>
          </a:prstGeom>
          <a:solidFill>
            <a:srgbClr val="AABE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5608" name="TextBox 4"/>
          <p:cNvSpPr txBox="1">
            <a:spLocks noChangeArrowheads="1"/>
          </p:cNvSpPr>
          <p:nvPr/>
        </p:nvSpPr>
        <p:spPr bwMode="auto">
          <a:xfrm>
            <a:off x="251520" y="5021263"/>
            <a:ext cx="4160712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457200"/>
            <a:r>
              <a:rPr lang="en-GB" sz="4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LOTS in each area of Kent  </a:t>
            </a:r>
            <a:endParaRPr lang="en-GB" sz="40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L-Shape 5"/>
          <p:cNvSpPr>
            <a:spLocks noChangeAspect="1"/>
          </p:cNvSpPr>
          <p:nvPr/>
        </p:nvSpPr>
        <p:spPr>
          <a:xfrm rot="13471430">
            <a:off x="4506911" y="1894460"/>
            <a:ext cx="457200" cy="457200"/>
          </a:xfrm>
          <a:prstGeom prst="corner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18" name="L-Shape 17"/>
          <p:cNvSpPr>
            <a:spLocks noChangeAspect="1"/>
          </p:cNvSpPr>
          <p:nvPr/>
        </p:nvSpPr>
        <p:spPr>
          <a:xfrm rot="13471430">
            <a:off x="4506910" y="2888235"/>
            <a:ext cx="457200" cy="457200"/>
          </a:xfrm>
          <a:prstGeom prst="corner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19" name="L-Shape 18"/>
          <p:cNvSpPr>
            <a:spLocks noChangeAspect="1"/>
          </p:cNvSpPr>
          <p:nvPr/>
        </p:nvSpPr>
        <p:spPr>
          <a:xfrm rot="13471430">
            <a:off x="4506913" y="3958902"/>
            <a:ext cx="457200" cy="457200"/>
          </a:xfrm>
          <a:prstGeom prst="corner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24" name="L-Shape 23"/>
          <p:cNvSpPr>
            <a:spLocks noChangeAspect="1"/>
          </p:cNvSpPr>
          <p:nvPr/>
        </p:nvSpPr>
        <p:spPr>
          <a:xfrm rot="13471430">
            <a:off x="4506914" y="4885885"/>
            <a:ext cx="457200" cy="457200"/>
          </a:xfrm>
          <a:prstGeom prst="corner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>
              <a:solidFill>
                <a:prstClr val="white"/>
              </a:solidFill>
            </a:endParaRPr>
          </a:p>
        </p:txBody>
      </p:sp>
      <p:grpSp>
        <p:nvGrpSpPr>
          <p:cNvPr id="25613" name="Group 24"/>
          <p:cNvGrpSpPr>
            <a:grpSpLocks/>
          </p:cNvGrpSpPr>
          <p:nvPr/>
        </p:nvGrpSpPr>
        <p:grpSpPr bwMode="auto">
          <a:xfrm>
            <a:off x="1150938" y="2446338"/>
            <a:ext cx="2279650" cy="2281237"/>
            <a:chOff x="5954767" y="2545268"/>
            <a:chExt cx="2279737" cy="2279737"/>
          </a:xfrm>
        </p:grpSpPr>
        <p:sp>
          <p:nvSpPr>
            <p:cNvPr id="26" name="Oval 25"/>
            <p:cNvSpPr/>
            <p:nvPr/>
          </p:nvSpPr>
          <p:spPr>
            <a:xfrm>
              <a:off x="5954767" y="2545268"/>
              <a:ext cx="2279737" cy="2279737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6126224" y="2716605"/>
              <a:ext cx="1936824" cy="1938649"/>
            </a:xfrm>
            <a:prstGeom prst="ellipse">
              <a:avLst/>
            </a:prstGeom>
            <a:solidFill>
              <a:srgbClr val="CC0000"/>
            </a:solidFill>
            <a:ln>
              <a:noFill/>
            </a:ln>
            <a:effectLst>
              <a:outerShdw blurRad="25400" dist="38100" dir="2400000" algn="ctr" rotWithShape="0">
                <a:srgbClr val="000000">
                  <a:alpha val="10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25620" name="TextBox 27"/>
            <p:cNvSpPr txBox="1">
              <a:spLocks noChangeArrowheads="1"/>
            </p:cNvSpPr>
            <p:nvPr/>
          </p:nvSpPr>
          <p:spPr bwMode="auto">
            <a:xfrm>
              <a:off x="6231003" y="3265519"/>
              <a:ext cx="1727265" cy="4267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defTabSz="457200"/>
              <a:r>
                <a:rPr lang="en-US" sz="2200" b="1">
                  <a:solidFill>
                    <a:prstClr val="white"/>
                  </a:solidFill>
                  <a:cs typeface="Arial" charset="0"/>
                </a:rPr>
                <a:t>INNOVATE</a:t>
              </a:r>
            </a:p>
          </p:txBody>
        </p:sp>
        <p:grpSp>
          <p:nvGrpSpPr>
            <p:cNvPr id="25621" name="Group 28"/>
            <p:cNvGrpSpPr>
              <a:grpSpLocks noChangeAspect="1"/>
            </p:cNvGrpSpPr>
            <p:nvPr/>
          </p:nvGrpSpPr>
          <p:grpSpPr bwMode="auto">
            <a:xfrm>
              <a:off x="6788634" y="3780997"/>
              <a:ext cx="612000" cy="612000"/>
              <a:chOff x="9375566" y="2717245"/>
              <a:chExt cx="1795057" cy="1795057"/>
            </a:xfrm>
          </p:grpSpPr>
          <p:sp>
            <p:nvSpPr>
              <p:cNvPr id="30" name="Oval 29"/>
              <p:cNvSpPr/>
              <p:nvPr/>
            </p:nvSpPr>
            <p:spPr>
              <a:xfrm>
                <a:off x="9374399" y="2717597"/>
                <a:ext cx="1797398" cy="1796147"/>
              </a:xfrm>
              <a:prstGeom prst="ellipse">
                <a:avLst/>
              </a:prstGeom>
              <a:solidFill>
                <a:srgbClr val="CC0000"/>
              </a:solidFill>
              <a:ln>
                <a:noFill/>
              </a:ln>
              <a:effectLst>
                <a:outerShdw blurRad="25400" dist="38100" dir="2400000" algn="ctr" rotWithShape="0">
                  <a:srgbClr val="000000">
                    <a:alpha val="10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1" name="Group 30"/>
              <p:cNvGrpSpPr/>
              <p:nvPr/>
            </p:nvGrpSpPr>
            <p:grpSpPr>
              <a:xfrm>
                <a:off x="9858908" y="3033166"/>
                <a:ext cx="828373" cy="1163214"/>
                <a:chOff x="10499725" y="2767013"/>
                <a:chExt cx="903288" cy="1268412"/>
              </a:xfrm>
              <a:solidFill>
                <a:schemeClr val="bg1"/>
              </a:solidFill>
              <a:effectLst/>
            </p:grpSpPr>
            <p:sp>
              <p:nvSpPr>
                <p:cNvPr id="33" name="Freeform 5"/>
                <p:cNvSpPr>
                  <a:spLocks/>
                </p:cNvSpPr>
                <p:nvPr/>
              </p:nvSpPr>
              <p:spPr bwMode="auto">
                <a:xfrm>
                  <a:off x="10499725" y="2767013"/>
                  <a:ext cx="903288" cy="898525"/>
                </a:xfrm>
                <a:custGeom>
                  <a:avLst/>
                  <a:gdLst>
                    <a:gd name="T0" fmla="*/ 68 w 136"/>
                    <a:gd name="T1" fmla="*/ 0 h 136"/>
                    <a:gd name="T2" fmla="*/ 0 w 136"/>
                    <a:gd name="T3" fmla="*/ 68 h 136"/>
                    <a:gd name="T4" fmla="*/ 64 w 136"/>
                    <a:gd name="T5" fmla="*/ 136 h 136"/>
                    <a:gd name="T6" fmla="*/ 64 w 136"/>
                    <a:gd name="T7" fmla="*/ 102 h 136"/>
                    <a:gd name="T8" fmla="*/ 59 w 136"/>
                    <a:gd name="T9" fmla="*/ 107 h 136"/>
                    <a:gd name="T10" fmla="*/ 53 w 136"/>
                    <a:gd name="T11" fmla="*/ 107 h 136"/>
                    <a:gd name="T12" fmla="*/ 41 w 136"/>
                    <a:gd name="T13" fmla="*/ 95 h 136"/>
                    <a:gd name="T14" fmla="*/ 41 w 136"/>
                    <a:gd name="T15" fmla="*/ 89 h 136"/>
                    <a:gd name="T16" fmla="*/ 47 w 136"/>
                    <a:gd name="T17" fmla="*/ 89 h 136"/>
                    <a:gd name="T18" fmla="*/ 56 w 136"/>
                    <a:gd name="T19" fmla="*/ 98 h 136"/>
                    <a:gd name="T20" fmla="*/ 65 w 136"/>
                    <a:gd name="T21" fmla="*/ 89 h 136"/>
                    <a:gd name="T22" fmla="*/ 66 w 136"/>
                    <a:gd name="T23" fmla="*/ 88 h 136"/>
                    <a:gd name="T24" fmla="*/ 70 w 136"/>
                    <a:gd name="T25" fmla="*/ 88 h 136"/>
                    <a:gd name="T26" fmla="*/ 71 w 136"/>
                    <a:gd name="T27" fmla="*/ 89 h 136"/>
                    <a:gd name="T28" fmla="*/ 80 w 136"/>
                    <a:gd name="T29" fmla="*/ 98 h 136"/>
                    <a:gd name="T30" fmla="*/ 89 w 136"/>
                    <a:gd name="T31" fmla="*/ 89 h 136"/>
                    <a:gd name="T32" fmla="*/ 95 w 136"/>
                    <a:gd name="T33" fmla="*/ 89 h 136"/>
                    <a:gd name="T34" fmla="*/ 95 w 136"/>
                    <a:gd name="T35" fmla="*/ 95 h 136"/>
                    <a:gd name="T36" fmla="*/ 83 w 136"/>
                    <a:gd name="T37" fmla="*/ 107 h 136"/>
                    <a:gd name="T38" fmla="*/ 80 w 136"/>
                    <a:gd name="T39" fmla="*/ 108 h 136"/>
                    <a:gd name="T40" fmla="*/ 77 w 136"/>
                    <a:gd name="T41" fmla="*/ 107 h 136"/>
                    <a:gd name="T42" fmla="*/ 72 w 136"/>
                    <a:gd name="T43" fmla="*/ 102 h 136"/>
                    <a:gd name="T44" fmla="*/ 72 w 136"/>
                    <a:gd name="T45" fmla="*/ 136 h 136"/>
                    <a:gd name="T46" fmla="*/ 136 w 136"/>
                    <a:gd name="T47" fmla="*/ 68 h 136"/>
                    <a:gd name="T48" fmla="*/ 68 w 136"/>
                    <a:gd name="T49" fmla="*/ 0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36" h="136">
                      <a:moveTo>
                        <a:pt x="68" y="0"/>
                      </a:moveTo>
                      <a:cubicBezTo>
                        <a:pt x="31" y="0"/>
                        <a:pt x="0" y="31"/>
                        <a:pt x="0" y="68"/>
                      </a:cubicBezTo>
                      <a:cubicBezTo>
                        <a:pt x="0" y="104"/>
                        <a:pt x="28" y="134"/>
                        <a:pt x="64" y="136"/>
                      </a:cubicBezTo>
                      <a:cubicBezTo>
                        <a:pt x="64" y="102"/>
                        <a:pt x="64" y="102"/>
                        <a:pt x="64" y="102"/>
                      </a:cubicBezTo>
                      <a:cubicBezTo>
                        <a:pt x="59" y="107"/>
                        <a:pt x="59" y="107"/>
                        <a:pt x="59" y="107"/>
                      </a:cubicBezTo>
                      <a:cubicBezTo>
                        <a:pt x="57" y="108"/>
                        <a:pt x="55" y="108"/>
                        <a:pt x="53" y="107"/>
                      </a:cubicBezTo>
                      <a:cubicBezTo>
                        <a:pt x="41" y="95"/>
                        <a:pt x="41" y="95"/>
                        <a:pt x="41" y="95"/>
                      </a:cubicBezTo>
                      <a:cubicBezTo>
                        <a:pt x="40" y="93"/>
                        <a:pt x="40" y="91"/>
                        <a:pt x="41" y="89"/>
                      </a:cubicBezTo>
                      <a:cubicBezTo>
                        <a:pt x="43" y="88"/>
                        <a:pt x="45" y="88"/>
                        <a:pt x="47" y="89"/>
                      </a:cubicBezTo>
                      <a:cubicBezTo>
                        <a:pt x="56" y="98"/>
                        <a:pt x="56" y="98"/>
                        <a:pt x="56" y="98"/>
                      </a:cubicBezTo>
                      <a:cubicBezTo>
                        <a:pt x="65" y="89"/>
                        <a:pt x="65" y="89"/>
                        <a:pt x="65" y="89"/>
                      </a:cubicBezTo>
                      <a:cubicBezTo>
                        <a:pt x="66" y="89"/>
                        <a:pt x="66" y="89"/>
                        <a:pt x="66" y="88"/>
                      </a:cubicBezTo>
                      <a:cubicBezTo>
                        <a:pt x="67" y="88"/>
                        <a:pt x="69" y="88"/>
                        <a:pt x="70" y="88"/>
                      </a:cubicBezTo>
                      <a:cubicBezTo>
                        <a:pt x="70" y="89"/>
                        <a:pt x="70" y="89"/>
                        <a:pt x="71" y="89"/>
                      </a:cubicBezTo>
                      <a:cubicBezTo>
                        <a:pt x="80" y="98"/>
                        <a:pt x="80" y="98"/>
                        <a:pt x="80" y="98"/>
                      </a:cubicBezTo>
                      <a:cubicBezTo>
                        <a:pt x="89" y="89"/>
                        <a:pt x="89" y="89"/>
                        <a:pt x="89" y="89"/>
                      </a:cubicBezTo>
                      <a:cubicBezTo>
                        <a:pt x="91" y="88"/>
                        <a:pt x="93" y="88"/>
                        <a:pt x="95" y="89"/>
                      </a:cubicBezTo>
                      <a:cubicBezTo>
                        <a:pt x="96" y="91"/>
                        <a:pt x="96" y="93"/>
                        <a:pt x="95" y="95"/>
                      </a:cubicBezTo>
                      <a:cubicBezTo>
                        <a:pt x="83" y="107"/>
                        <a:pt x="83" y="107"/>
                        <a:pt x="83" y="107"/>
                      </a:cubicBezTo>
                      <a:cubicBezTo>
                        <a:pt x="82" y="108"/>
                        <a:pt x="81" y="108"/>
                        <a:pt x="80" y="108"/>
                      </a:cubicBezTo>
                      <a:cubicBezTo>
                        <a:pt x="79" y="108"/>
                        <a:pt x="78" y="108"/>
                        <a:pt x="77" y="107"/>
                      </a:cubicBezTo>
                      <a:cubicBezTo>
                        <a:pt x="72" y="102"/>
                        <a:pt x="72" y="102"/>
                        <a:pt x="72" y="102"/>
                      </a:cubicBezTo>
                      <a:cubicBezTo>
                        <a:pt x="72" y="136"/>
                        <a:pt x="72" y="136"/>
                        <a:pt x="72" y="136"/>
                      </a:cubicBezTo>
                      <a:cubicBezTo>
                        <a:pt x="108" y="134"/>
                        <a:pt x="136" y="104"/>
                        <a:pt x="136" y="68"/>
                      </a:cubicBezTo>
                      <a:cubicBezTo>
                        <a:pt x="136" y="31"/>
                        <a:pt x="105" y="0"/>
                        <a:pt x="6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457200">
                    <a:defRPr/>
                  </a:pPr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4" name="Freeform 6"/>
                <p:cNvSpPr>
                  <a:spLocks/>
                </p:cNvSpPr>
                <p:nvPr/>
              </p:nvSpPr>
              <p:spPr bwMode="auto">
                <a:xfrm>
                  <a:off x="10791825" y="3717925"/>
                  <a:ext cx="319088" cy="53975"/>
                </a:xfrm>
                <a:custGeom>
                  <a:avLst/>
                  <a:gdLst>
                    <a:gd name="T0" fmla="*/ 44 w 48"/>
                    <a:gd name="T1" fmla="*/ 0 h 8"/>
                    <a:gd name="T2" fmla="*/ 4 w 48"/>
                    <a:gd name="T3" fmla="*/ 0 h 8"/>
                    <a:gd name="T4" fmla="*/ 0 w 48"/>
                    <a:gd name="T5" fmla="*/ 4 h 8"/>
                    <a:gd name="T6" fmla="*/ 4 w 48"/>
                    <a:gd name="T7" fmla="*/ 8 h 8"/>
                    <a:gd name="T8" fmla="*/ 44 w 48"/>
                    <a:gd name="T9" fmla="*/ 8 h 8"/>
                    <a:gd name="T10" fmla="*/ 48 w 48"/>
                    <a:gd name="T11" fmla="*/ 4 h 8"/>
                    <a:gd name="T12" fmla="*/ 44 w 48"/>
                    <a:gd name="T1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8">
                      <a:moveTo>
                        <a:pt x="4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2"/>
                        <a:pt x="0" y="4"/>
                      </a:cubicBezTo>
                      <a:cubicBezTo>
                        <a:pt x="0" y="6"/>
                        <a:pt x="2" y="8"/>
                        <a:pt x="4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6" y="8"/>
                        <a:pt x="48" y="6"/>
                        <a:pt x="48" y="4"/>
                      </a:cubicBezTo>
                      <a:cubicBezTo>
                        <a:pt x="48" y="2"/>
                        <a:pt x="46" y="0"/>
                        <a:pt x="4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 defTabSz="457200">
                    <a:defRPr/>
                  </a:pPr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5" name="Freeform 7"/>
                <p:cNvSpPr>
                  <a:spLocks/>
                </p:cNvSpPr>
                <p:nvPr/>
              </p:nvSpPr>
              <p:spPr bwMode="auto">
                <a:xfrm>
                  <a:off x="10791825" y="3824288"/>
                  <a:ext cx="319088" cy="52387"/>
                </a:xfrm>
                <a:custGeom>
                  <a:avLst/>
                  <a:gdLst>
                    <a:gd name="T0" fmla="*/ 44 w 48"/>
                    <a:gd name="T1" fmla="*/ 0 h 8"/>
                    <a:gd name="T2" fmla="*/ 4 w 48"/>
                    <a:gd name="T3" fmla="*/ 0 h 8"/>
                    <a:gd name="T4" fmla="*/ 0 w 48"/>
                    <a:gd name="T5" fmla="*/ 4 h 8"/>
                    <a:gd name="T6" fmla="*/ 4 w 48"/>
                    <a:gd name="T7" fmla="*/ 8 h 8"/>
                    <a:gd name="T8" fmla="*/ 44 w 48"/>
                    <a:gd name="T9" fmla="*/ 8 h 8"/>
                    <a:gd name="T10" fmla="*/ 48 w 48"/>
                    <a:gd name="T11" fmla="*/ 4 h 8"/>
                    <a:gd name="T12" fmla="*/ 44 w 48"/>
                    <a:gd name="T1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8" h="8">
                      <a:moveTo>
                        <a:pt x="4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2"/>
                        <a:pt x="0" y="4"/>
                      </a:cubicBezTo>
                      <a:cubicBezTo>
                        <a:pt x="0" y="6"/>
                        <a:pt x="2" y="8"/>
                        <a:pt x="4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6" y="8"/>
                        <a:pt x="48" y="6"/>
                        <a:pt x="48" y="4"/>
                      </a:cubicBezTo>
                      <a:cubicBezTo>
                        <a:pt x="48" y="2"/>
                        <a:pt x="46" y="0"/>
                        <a:pt x="4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 defTabSz="457200">
                    <a:defRPr/>
                  </a:pPr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6" name="Freeform 8"/>
                <p:cNvSpPr>
                  <a:spLocks/>
                </p:cNvSpPr>
                <p:nvPr/>
              </p:nvSpPr>
              <p:spPr bwMode="auto">
                <a:xfrm>
                  <a:off x="10791825" y="3929063"/>
                  <a:ext cx="319088" cy="106362"/>
                </a:xfrm>
                <a:custGeom>
                  <a:avLst/>
                  <a:gdLst>
                    <a:gd name="T0" fmla="*/ 44 w 48"/>
                    <a:gd name="T1" fmla="*/ 0 h 16"/>
                    <a:gd name="T2" fmla="*/ 4 w 48"/>
                    <a:gd name="T3" fmla="*/ 0 h 16"/>
                    <a:gd name="T4" fmla="*/ 0 w 48"/>
                    <a:gd name="T5" fmla="*/ 4 h 16"/>
                    <a:gd name="T6" fmla="*/ 4 w 48"/>
                    <a:gd name="T7" fmla="*/ 8 h 16"/>
                    <a:gd name="T8" fmla="*/ 20 w 48"/>
                    <a:gd name="T9" fmla="*/ 8 h 16"/>
                    <a:gd name="T10" fmla="*/ 20 w 48"/>
                    <a:gd name="T11" fmla="*/ 12 h 16"/>
                    <a:gd name="T12" fmla="*/ 24 w 48"/>
                    <a:gd name="T13" fmla="*/ 16 h 16"/>
                    <a:gd name="T14" fmla="*/ 28 w 48"/>
                    <a:gd name="T15" fmla="*/ 12 h 16"/>
                    <a:gd name="T16" fmla="*/ 28 w 48"/>
                    <a:gd name="T17" fmla="*/ 8 h 16"/>
                    <a:gd name="T18" fmla="*/ 44 w 48"/>
                    <a:gd name="T19" fmla="*/ 8 h 16"/>
                    <a:gd name="T20" fmla="*/ 48 w 48"/>
                    <a:gd name="T21" fmla="*/ 4 h 16"/>
                    <a:gd name="T22" fmla="*/ 44 w 48"/>
                    <a:gd name="T23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8" h="16">
                      <a:moveTo>
                        <a:pt x="44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2"/>
                        <a:pt x="0" y="4"/>
                      </a:cubicBezTo>
                      <a:cubicBezTo>
                        <a:pt x="0" y="6"/>
                        <a:pt x="2" y="8"/>
                        <a:pt x="4" y="8"/>
                      </a:cubicBezTo>
                      <a:cubicBezTo>
                        <a:pt x="20" y="8"/>
                        <a:pt x="20" y="8"/>
                        <a:pt x="20" y="8"/>
                      </a:cubicBezTo>
                      <a:cubicBezTo>
                        <a:pt x="20" y="12"/>
                        <a:pt x="20" y="12"/>
                        <a:pt x="20" y="12"/>
                      </a:cubicBezTo>
                      <a:cubicBezTo>
                        <a:pt x="20" y="14"/>
                        <a:pt x="22" y="16"/>
                        <a:pt x="24" y="16"/>
                      </a:cubicBezTo>
                      <a:cubicBezTo>
                        <a:pt x="26" y="16"/>
                        <a:pt x="28" y="14"/>
                        <a:pt x="28" y="1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6" y="8"/>
                        <a:pt x="48" y="6"/>
                        <a:pt x="48" y="4"/>
                      </a:cubicBezTo>
                      <a:cubicBezTo>
                        <a:pt x="48" y="2"/>
                        <a:pt x="46" y="0"/>
                        <a:pt x="4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/>
              </p:spPr>
              <p:txBody>
                <a:bodyPr/>
                <a:lstStyle/>
                <a:p>
                  <a:pPr defTabSz="457200">
                    <a:defRPr/>
                  </a:pPr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25614" name="TextBox 7"/>
          <p:cNvSpPr txBox="1">
            <a:spLocks noChangeArrowheads="1"/>
          </p:cNvSpPr>
          <p:nvPr/>
        </p:nvSpPr>
        <p:spPr bwMode="auto">
          <a:xfrm>
            <a:off x="5178420" y="3806474"/>
            <a:ext cx="358457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57200"/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Services wrapped around high need schools to improve integrated service delivery   </a:t>
            </a:r>
          </a:p>
          <a:p>
            <a:pPr defTabSz="457200"/>
            <a:r>
              <a:rPr lang="en-GB" dirty="0" smtClean="0">
                <a:solidFill>
                  <a:prstClr val="black"/>
                </a:solidFill>
              </a:rPr>
              <a:t> 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5615" name="TextBox 9"/>
          <p:cNvSpPr txBox="1">
            <a:spLocks noChangeArrowheads="1"/>
          </p:cNvSpPr>
          <p:nvPr/>
        </p:nvSpPr>
        <p:spPr bwMode="auto">
          <a:xfrm>
            <a:off x="5178420" y="2744352"/>
            <a:ext cx="3584575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57200"/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A more integrated approach to supporting families and children aged 0-5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16" name="TextBox 10"/>
          <p:cNvSpPr txBox="1">
            <a:spLocks noChangeArrowheads="1"/>
          </p:cNvSpPr>
          <p:nvPr/>
        </p:nvSpPr>
        <p:spPr bwMode="auto">
          <a:xfrm>
            <a:off x="5178420" y="4727575"/>
            <a:ext cx="3727455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57200"/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More integrated support for </a:t>
            </a:r>
            <a:r>
              <a:rPr lang="en-GB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iC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 and Foster Carers to improve placement stability   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9"/>
          <p:cNvSpPr txBox="1">
            <a:spLocks noChangeArrowheads="1"/>
          </p:cNvSpPr>
          <p:nvPr/>
        </p:nvSpPr>
        <p:spPr bwMode="auto">
          <a:xfrm>
            <a:off x="5178420" y="1800008"/>
            <a:ext cx="347027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57200"/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Integrated Early Help and Social Care teams in Districts 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L-Shape 37"/>
          <p:cNvSpPr>
            <a:spLocks noChangeAspect="1"/>
          </p:cNvSpPr>
          <p:nvPr/>
        </p:nvSpPr>
        <p:spPr>
          <a:xfrm rot="13471430">
            <a:off x="4506912" y="5777300"/>
            <a:ext cx="457200" cy="457200"/>
          </a:xfrm>
          <a:prstGeom prst="corner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41" name="TextBox 7"/>
          <p:cNvSpPr txBox="1">
            <a:spLocks noChangeArrowheads="1"/>
          </p:cNvSpPr>
          <p:nvPr/>
        </p:nvSpPr>
        <p:spPr bwMode="auto">
          <a:xfrm>
            <a:off x="5249858" y="5682619"/>
            <a:ext cx="358457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57200"/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More integrated approach to Adolescent risk and support 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0064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7938" y="6359525"/>
            <a:ext cx="9156701" cy="506413"/>
          </a:xfrm>
          <a:prstGeom prst="rect">
            <a:avLst/>
          </a:prstGeom>
          <a:solidFill>
            <a:srgbClr val="418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628650" y="314325"/>
            <a:ext cx="7886700" cy="1325563"/>
          </a:xfrm>
        </p:spPr>
        <p:txBody>
          <a:bodyPr/>
          <a:lstStyle/>
          <a:p>
            <a:r>
              <a:rPr lang="en-GB" dirty="0" smtClean="0"/>
              <a:t>Went </a:t>
            </a:r>
            <a:endParaRPr lang="en-GB" dirty="0"/>
          </a:p>
        </p:txBody>
      </p:sp>
      <p:pic>
        <p:nvPicPr>
          <p:cNvPr id="25603" name="Picture 3">
            <a:hlinkClick r:id="" action="ppaction://hlinkshowjump?jump=firstslide"/>
          </p:cNvPr>
          <p:cNvPicPr>
            <a:picLocks noChangeAspect="1" noChangeArrowheads="1"/>
          </p:cNvPicPr>
          <p:nvPr/>
        </p:nvPicPr>
        <p:blipFill>
          <a:blip r:embed="rId3"/>
          <a:srcRect b="87781"/>
          <a:stretch>
            <a:fillRect/>
          </a:stretch>
        </p:blipFill>
        <p:spPr bwMode="auto">
          <a:xfrm>
            <a:off x="0" y="0"/>
            <a:ext cx="9148763" cy="158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5604" name="Group 19"/>
          <p:cNvGrpSpPr>
            <a:grpSpLocks/>
          </p:cNvGrpSpPr>
          <p:nvPr/>
        </p:nvGrpSpPr>
        <p:grpSpPr bwMode="auto">
          <a:xfrm>
            <a:off x="-323850" y="520700"/>
            <a:ext cx="4572000" cy="630898"/>
            <a:chOff x="-324321" y="520896"/>
            <a:chExt cx="4572000" cy="631354"/>
          </a:xfrm>
        </p:grpSpPr>
        <p:sp>
          <p:nvSpPr>
            <p:cNvPr id="21" name="Rectangle 20"/>
            <p:cNvSpPr/>
            <p:nvPr/>
          </p:nvSpPr>
          <p:spPr>
            <a:xfrm>
              <a:off x="-324321" y="520896"/>
              <a:ext cx="4572000" cy="30819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defTabSz="457200">
                <a:defRPr/>
              </a:pPr>
              <a:r>
                <a:rPr lang="en-GB" sz="1400" dirty="0">
                  <a:solidFill>
                    <a:prstClr val="white">
                      <a:lumMod val="85000"/>
                    </a:prst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hildren &amp; Young People’s Service 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6274" y="821151"/>
              <a:ext cx="4037900" cy="3310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457200">
                <a:defRPr/>
              </a:pPr>
              <a:r>
                <a:rPr lang="en-GB" sz="1550" smtClean="0">
                  <a:solidFill>
                    <a:prstClr val="white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Update on Emotional Health and Wellbeing </a:t>
              </a:r>
              <a:endParaRPr lang="en-GB" sz="1550" dirty="0">
                <a:solidFill>
                  <a:prstClr val="white"/>
                </a:solidFill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623417" y="825916"/>
              <a:ext cx="2676525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31">
            <a:extLst/>
          </p:cNvPr>
          <p:cNvSpPr/>
          <p:nvPr/>
        </p:nvSpPr>
        <p:spPr>
          <a:xfrm>
            <a:off x="0" y="1554163"/>
            <a:ext cx="9144000" cy="152400"/>
          </a:xfrm>
          <a:prstGeom prst="rect">
            <a:avLst/>
          </a:prstGeom>
          <a:solidFill>
            <a:srgbClr val="AABE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6" name="L-Shape 5"/>
          <p:cNvSpPr>
            <a:spLocks noChangeAspect="1"/>
          </p:cNvSpPr>
          <p:nvPr/>
        </p:nvSpPr>
        <p:spPr>
          <a:xfrm rot="13471430">
            <a:off x="4506911" y="1894460"/>
            <a:ext cx="457200" cy="457200"/>
          </a:xfrm>
          <a:prstGeom prst="corner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18" name="L-Shape 17"/>
          <p:cNvSpPr>
            <a:spLocks noChangeAspect="1"/>
          </p:cNvSpPr>
          <p:nvPr/>
        </p:nvSpPr>
        <p:spPr>
          <a:xfrm rot="13471430">
            <a:off x="4506910" y="2850135"/>
            <a:ext cx="457200" cy="457200"/>
          </a:xfrm>
          <a:prstGeom prst="corner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19" name="L-Shape 18"/>
          <p:cNvSpPr>
            <a:spLocks noChangeAspect="1"/>
          </p:cNvSpPr>
          <p:nvPr/>
        </p:nvSpPr>
        <p:spPr>
          <a:xfrm rot="13471430">
            <a:off x="4506913" y="3859842"/>
            <a:ext cx="457200" cy="457200"/>
          </a:xfrm>
          <a:prstGeom prst="corner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24" name="L-Shape 23"/>
          <p:cNvSpPr>
            <a:spLocks noChangeAspect="1"/>
          </p:cNvSpPr>
          <p:nvPr/>
        </p:nvSpPr>
        <p:spPr>
          <a:xfrm rot="13471430">
            <a:off x="4506914" y="4847785"/>
            <a:ext cx="457200" cy="457200"/>
          </a:xfrm>
          <a:prstGeom prst="corner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25615" name="TextBox 9"/>
          <p:cNvSpPr txBox="1">
            <a:spLocks noChangeArrowheads="1"/>
          </p:cNvSpPr>
          <p:nvPr/>
        </p:nvSpPr>
        <p:spPr bwMode="auto">
          <a:xfrm>
            <a:off x="5235296" y="2894069"/>
            <a:ext cx="358457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57200"/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Single Point of Access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up and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running 1</a:t>
            </a:r>
            <a:r>
              <a:rPr lang="en-GB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 September  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16" name="TextBox 10"/>
          <p:cNvSpPr txBox="1">
            <a:spLocks noChangeArrowheads="1"/>
          </p:cNvSpPr>
          <p:nvPr/>
        </p:nvSpPr>
        <p:spPr bwMode="auto">
          <a:xfrm>
            <a:off x="5235296" y="4881238"/>
            <a:ext cx="372745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57200"/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New clinical model from 1.4.18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L-Shape 37"/>
          <p:cNvSpPr>
            <a:spLocks noChangeAspect="1"/>
          </p:cNvSpPr>
          <p:nvPr/>
        </p:nvSpPr>
        <p:spPr>
          <a:xfrm rot="13471430">
            <a:off x="4506912" y="5777300"/>
            <a:ext cx="457200" cy="457200"/>
          </a:xfrm>
          <a:prstGeom prst="corner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41" name="TextBox 7"/>
          <p:cNvSpPr txBox="1">
            <a:spLocks noChangeArrowheads="1"/>
          </p:cNvSpPr>
          <p:nvPr/>
        </p:nvSpPr>
        <p:spPr bwMode="auto">
          <a:xfrm>
            <a:off x="5238019" y="5682621"/>
            <a:ext cx="365601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57200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esigned to improve service delivery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49635" y="1821727"/>
            <a:ext cx="409851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en-GB" sz="36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ren and Young People  Mental Health Service :</a:t>
            </a:r>
          </a:p>
          <a:p>
            <a:pPr defTabSz="457200"/>
            <a:r>
              <a:rPr lang="en-GB" sz="36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th East London </a:t>
            </a:r>
          </a:p>
          <a:p>
            <a:pPr defTabSz="457200"/>
            <a:r>
              <a:rPr lang="en-GB" sz="36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ndation Trust </a:t>
            </a:r>
            <a:endParaRPr lang="en-GB" sz="36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35296" y="3903776"/>
            <a:ext cx="39292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90 day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consultation mid September  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235296" y="1929448"/>
            <a:ext cx="37503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New Offer went live 1</a:t>
            </a:r>
            <a:r>
              <a:rPr lang="en-GB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 September 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3639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7938" y="6359525"/>
            <a:ext cx="9156701" cy="506413"/>
          </a:xfrm>
          <a:prstGeom prst="rect">
            <a:avLst/>
          </a:prstGeom>
          <a:solidFill>
            <a:srgbClr val="418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628650" y="314325"/>
            <a:ext cx="7886700" cy="1325563"/>
          </a:xfrm>
        </p:spPr>
        <p:txBody>
          <a:bodyPr/>
          <a:lstStyle/>
          <a:p>
            <a:r>
              <a:rPr lang="en-GB" dirty="0" smtClean="0"/>
              <a:t>Went </a:t>
            </a:r>
            <a:endParaRPr lang="en-GB" dirty="0"/>
          </a:p>
        </p:txBody>
      </p:sp>
      <p:pic>
        <p:nvPicPr>
          <p:cNvPr id="25603" name="Picture 3">
            <a:hlinkClick r:id="" action="ppaction://hlinkshowjump?jump=firstslide"/>
          </p:cNvPr>
          <p:cNvPicPr>
            <a:picLocks noChangeAspect="1" noChangeArrowheads="1"/>
          </p:cNvPicPr>
          <p:nvPr/>
        </p:nvPicPr>
        <p:blipFill>
          <a:blip r:embed="rId3"/>
          <a:srcRect b="87781"/>
          <a:stretch>
            <a:fillRect/>
          </a:stretch>
        </p:blipFill>
        <p:spPr bwMode="auto">
          <a:xfrm>
            <a:off x="0" y="0"/>
            <a:ext cx="9148763" cy="158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5604" name="Group 19"/>
          <p:cNvGrpSpPr>
            <a:grpSpLocks/>
          </p:cNvGrpSpPr>
          <p:nvPr/>
        </p:nvGrpSpPr>
        <p:grpSpPr bwMode="auto">
          <a:xfrm>
            <a:off x="-323850" y="520700"/>
            <a:ext cx="4572000" cy="638834"/>
            <a:chOff x="-324321" y="520896"/>
            <a:chExt cx="4572000" cy="639296"/>
          </a:xfrm>
        </p:grpSpPr>
        <p:sp>
          <p:nvSpPr>
            <p:cNvPr id="21" name="Rectangle 20"/>
            <p:cNvSpPr/>
            <p:nvPr/>
          </p:nvSpPr>
          <p:spPr>
            <a:xfrm>
              <a:off x="-324321" y="520896"/>
              <a:ext cx="4572000" cy="30819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defTabSz="457200">
                <a:defRPr/>
              </a:pPr>
              <a:r>
                <a:rPr lang="en-GB" sz="1400" dirty="0">
                  <a:solidFill>
                    <a:prstClr val="white">
                      <a:lumMod val="85000"/>
                    </a:prst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hildren &amp; Young People’s Service 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6274" y="829093"/>
              <a:ext cx="4037900" cy="3310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457200">
                <a:defRPr/>
              </a:pPr>
              <a:r>
                <a:rPr lang="en-GB" sz="1550" dirty="0" smtClean="0">
                  <a:solidFill>
                    <a:prstClr val="white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Update on Emotional Health and Wellbeing </a:t>
              </a:r>
              <a:endParaRPr lang="en-GB" sz="1550" dirty="0">
                <a:solidFill>
                  <a:prstClr val="white"/>
                </a:solidFill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623417" y="825916"/>
              <a:ext cx="2676525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31">
            <a:extLst/>
          </p:cNvPr>
          <p:cNvSpPr/>
          <p:nvPr/>
        </p:nvSpPr>
        <p:spPr>
          <a:xfrm>
            <a:off x="0" y="1554163"/>
            <a:ext cx="9144000" cy="152400"/>
          </a:xfrm>
          <a:prstGeom prst="rect">
            <a:avLst/>
          </a:prstGeom>
          <a:solidFill>
            <a:srgbClr val="AABE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5608" name="TextBox 4"/>
          <p:cNvSpPr txBox="1">
            <a:spLocks noChangeArrowheads="1"/>
          </p:cNvSpPr>
          <p:nvPr/>
        </p:nvSpPr>
        <p:spPr bwMode="auto">
          <a:xfrm>
            <a:off x="149634" y="2972887"/>
            <a:ext cx="203132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/>
            <a:r>
              <a:rPr lang="en-GB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Pathways  </a:t>
            </a:r>
            <a:endParaRPr lang="en-GB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L-Shape 5"/>
          <p:cNvSpPr>
            <a:spLocks noChangeAspect="1"/>
          </p:cNvSpPr>
          <p:nvPr/>
        </p:nvSpPr>
        <p:spPr>
          <a:xfrm rot="13471430">
            <a:off x="4506911" y="1894460"/>
            <a:ext cx="457200" cy="457200"/>
          </a:xfrm>
          <a:prstGeom prst="corner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18" name="L-Shape 17"/>
          <p:cNvSpPr>
            <a:spLocks noChangeAspect="1"/>
          </p:cNvSpPr>
          <p:nvPr/>
        </p:nvSpPr>
        <p:spPr>
          <a:xfrm rot="13471430">
            <a:off x="4506910" y="2888235"/>
            <a:ext cx="457200" cy="457200"/>
          </a:xfrm>
          <a:prstGeom prst="corner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19" name="L-Shape 18"/>
          <p:cNvSpPr>
            <a:spLocks noChangeAspect="1"/>
          </p:cNvSpPr>
          <p:nvPr/>
        </p:nvSpPr>
        <p:spPr>
          <a:xfrm rot="13471430">
            <a:off x="4506913" y="3958902"/>
            <a:ext cx="457200" cy="457200"/>
          </a:xfrm>
          <a:prstGeom prst="corner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24" name="L-Shape 23"/>
          <p:cNvSpPr>
            <a:spLocks noChangeAspect="1"/>
          </p:cNvSpPr>
          <p:nvPr/>
        </p:nvSpPr>
        <p:spPr>
          <a:xfrm rot="13471430">
            <a:off x="4506914" y="4885885"/>
            <a:ext cx="457200" cy="457200"/>
          </a:xfrm>
          <a:prstGeom prst="corner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25615" name="TextBox 9"/>
          <p:cNvSpPr txBox="1">
            <a:spLocks noChangeArrowheads="1"/>
          </p:cNvSpPr>
          <p:nvPr/>
        </p:nvSpPr>
        <p:spPr bwMode="auto">
          <a:xfrm>
            <a:off x="5178420" y="2932169"/>
            <a:ext cx="358457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57200"/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x  needs  </a:t>
            </a:r>
            <a:r>
              <a:rPr lang="en-GB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16" name="TextBox 10"/>
          <p:cNvSpPr txBox="1">
            <a:spLocks noChangeArrowheads="1"/>
          </p:cNvSpPr>
          <p:nvPr/>
        </p:nvSpPr>
        <p:spPr bwMode="auto">
          <a:xfrm>
            <a:off x="5178420" y="4929819"/>
            <a:ext cx="372745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57200"/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od/anxiety </a:t>
            </a:r>
            <a:endParaRPr lang="en-GB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L-Shape 37"/>
          <p:cNvSpPr>
            <a:spLocks noChangeAspect="1"/>
          </p:cNvSpPr>
          <p:nvPr/>
        </p:nvSpPr>
        <p:spPr>
          <a:xfrm rot="13471430">
            <a:off x="4506912" y="5777300"/>
            <a:ext cx="457200" cy="457200"/>
          </a:xfrm>
          <a:prstGeom prst="corner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41" name="TextBox 7"/>
          <p:cNvSpPr txBox="1">
            <a:spLocks noChangeArrowheads="1"/>
          </p:cNvSpPr>
          <p:nvPr/>
        </p:nvSpPr>
        <p:spPr bwMode="auto">
          <a:xfrm>
            <a:off x="5249858" y="5867285"/>
            <a:ext cx="365601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457200"/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uro-developmental  </a:t>
            </a:r>
            <a:endParaRPr lang="en-GB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9634" y="1821727"/>
            <a:ext cx="416011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GB" sz="36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th East London </a:t>
            </a:r>
          </a:p>
          <a:p>
            <a:pPr defTabSz="457200"/>
            <a:r>
              <a:rPr lang="en-GB" sz="36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ndation Trust </a:t>
            </a:r>
            <a:endParaRPr lang="en-GB" sz="36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249858" y="4002836"/>
            <a:ext cx="16417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haviour</a:t>
            </a:r>
            <a:r>
              <a:rPr lang="en-GB" sz="2400" dirty="0" smtClean="0">
                <a:solidFill>
                  <a:prstClr val="black"/>
                </a:solidFill>
              </a:rPr>
              <a:t> </a:t>
            </a:r>
            <a:endParaRPr lang="en-GB" sz="2400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292173" y="1929448"/>
            <a:ext cx="16914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rly Help </a:t>
            </a:r>
            <a:endParaRPr lang="en-GB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077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7938" y="6359525"/>
            <a:ext cx="9156701" cy="506413"/>
          </a:xfrm>
          <a:prstGeom prst="rect">
            <a:avLst/>
          </a:prstGeom>
          <a:solidFill>
            <a:srgbClr val="418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628650" y="314325"/>
            <a:ext cx="7886700" cy="1325563"/>
          </a:xfrm>
        </p:spPr>
        <p:txBody>
          <a:bodyPr/>
          <a:lstStyle/>
          <a:p>
            <a:r>
              <a:rPr lang="en-GB" dirty="0" smtClean="0"/>
              <a:t>Went </a:t>
            </a:r>
            <a:endParaRPr lang="en-GB" dirty="0"/>
          </a:p>
        </p:txBody>
      </p:sp>
      <p:pic>
        <p:nvPicPr>
          <p:cNvPr id="25603" name="Picture 3">
            <a:hlinkClick r:id="" action="ppaction://hlinkshowjump?jump=firstslide"/>
          </p:cNvPr>
          <p:cNvPicPr>
            <a:picLocks noChangeAspect="1" noChangeArrowheads="1"/>
          </p:cNvPicPr>
          <p:nvPr/>
        </p:nvPicPr>
        <p:blipFill>
          <a:blip r:embed="rId3"/>
          <a:srcRect b="87781"/>
          <a:stretch>
            <a:fillRect/>
          </a:stretch>
        </p:blipFill>
        <p:spPr bwMode="auto">
          <a:xfrm>
            <a:off x="0" y="0"/>
            <a:ext cx="9148763" cy="158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5604" name="Group 19"/>
          <p:cNvGrpSpPr>
            <a:grpSpLocks/>
          </p:cNvGrpSpPr>
          <p:nvPr/>
        </p:nvGrpSpPr>
        <p:grpSpPr bwMode="auto">
          <a:xfrm>
            <a:off x="-323850" y="520700"/>
            <a:ext cx="4572000" cy="638834"/>
            <a:chOff x="-324321" y="520896"/>
            <a:chExt cx="4572000" cy="639296"/>
          </a:xfrm>
        </p:grpSpPr>
        <p:sp>
          <p:nvSpPr>
            <p:cNvPr id="21" name="Rectangle 20"/>
            <p:cNvSpPr/>
            <p:nvPr/>
          </p:nvSpPr>
          <p:spPr>
            <a:xfrm>
              <a:off x="-324321" y="520896"/>
              <a:ext cx="4572000" cy="30819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defTabSz="457200">
                <a:defRPr/>
              </a:pPr>
              <a:r>
                <a:rPr lang="en-GB" sz="1400" dirty="0">
                  <a:solidFill>
                    <a:prstClr val="white">
                      <a:lumMod val="85000"/>
                    </a:prst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hildren &amp; Young People’s Service 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6274" y="829093"/>
              <a:ext cx="4037900" cy="3310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457200">
                <a:defRPr/>
              </a:pPr>
              <a:r>
                <a:rPr lang="en-GB" sz="1550" dirty="0" smtClean="0">
                  <a:solidFill>
                    <a:prstClr val="white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Update on Emotional Health and Wellbeing </a:t>
              </a:r>
              <a:endParaRPr lang="en-GB" sz="1550" dirty="0">
                <a:solidFill>
                  <a:prstClr val="white"/>
                </a:solidFill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623417" y="825916"/>
              <a:ext cx="2676525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31">
            <a:extLst/>
          </p:cNvPr>
          <p:cNvSpPr/>
          <p:nvPr/>
        </p:nvSpPr>
        <p:spPr>
          <a:xfrm>
            <a:off x="0" y="1554163"/>
            <a:ext cx="9144000" cy="152400"/>
          </a:xfrm>
          <a:prstGeom prst="rect">
            <a:avLst/>
          </a:prstGeom>
          <a:solidFill>
            <a:srgbClr val="AABE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5608" name="TextBox 4"/>
          <p:cNvSpPr txBox="1">
            <a:spLocks noChangeArrowheads="1"/>
          </p:cNvSpPr>
          <p:nvPr/>
        </p:nvSpPr>
        <p:spPr bwMode="auto">
          <a:xfrm>
            <a:off x="149634" y="2972887"/>
            <a:ext cx="343074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/>
            <a:r>
              <a:rPr lang="en-GB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 point of access</a:t>
            </a:r>
            <a:endParaRPr lang="en-GB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9634" y="1821727"/>
            <a:ext cx="416011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GB" sz="36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th East London </a:t>
            </a:r>
          </a:p>
          <a:p>
            <a:pPr defTabSz="457200"/>
            <a:r>
              <a:rPr lang="en-GB" sz="36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ndation Trust </a:t>
            </a:r>
            <a:endParaRPr lang="en-GB" sz="36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4"/>
          <p:cNvSpPr txBox="1">
            <a:spLocks noChangeArrowheads="1"/>
          </p:cNvSpPr>
          <p:nvPr/>
        </p:nvSpPr>
        <p:spPr bwMode="auto">
          <a:xfrm>
            <a:off x="151308" y="4119463"/>
            <a:ext cx="464422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/>
            <a:r>
              <a:rPr lang="en-GB" sz="4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3000 123 4496</a:t>
            </a:r>
            <a:endParaRPr lang="en-GB" sz="4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0752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7938" y="6359525"/>
            <a:ext cx="9156701" cy="506413"/>
          </a:xfrm>
          <a:prstGeom prst="rect">
            <a:avLst/>
          </a:prstGeom>
          <a:solidFill>
            <a:srgbClr val="4183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628650" y="314325"/>
            <a:ext cx="7886700" cy="1325563"/>
          </a:xfrm>
        </p:spPr>
        <p:txBody>
          <a:bodyPr/>
          <a:lstStyle/>
          <a:p>
            <a:r>
              <a:rPr lang="en-GB" dirty="0" smtClean="0"/>
              <a:t>Went </a:t>
            </a:r>
            <a:endParaRPr lang="en-GB" dirty="0"/>
          </a:p>
        </p:txBody>
      </p:sp>
      <p:pic>
        <p:nvPicPr>
          <p:cNvPr id="25603" name="Picture 3">
            <a:hlinkClick r:id="" action="ppaction://hlinkshowjump?jump=firstslide"/>
          </p:cNvPr>
          <p:cNvPicPr>
            <a:picLocks noChangeAspect="1" noChangeArrowheads="1"/>
          </p:cNvPicPr>
          <p:nvPr/>
        </p:nvPicPr>
        <p:blipFill>
          <a:blip r:embed="rId3"/>
          <a:srcRect b="87781"/>
          <a:stretch>
            <a:fillRect/>
          </a:stretch>
        </p:blipFill>
        <p:spPr bwMode="auto">
          <a:xfrm>
            <a:off x="0" y="0"/>
            <a:ext cx="9148763" cy="158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5604" name="Group 19"/>
          <p:cNvGrpSpPr>
            <a:grpSpLocks/>
          </p:cNvGrpSpPr>
          <p:nvPr/>
        </p:nvGrpSpPr>
        <p:grpSpPr bwMode="auto">
          <a:xfrm>
            <a:off x="-323850" y="520700"/>
            <a:ext cx="4572000" cy="638834"/>
            <a:chOff x="-324321" y="520896"/>
            <a:chExt cx="4572000" cy="639296"/>
          </a:xfrm>
        </p:grpSpPr>
        <p:sp>
          <p:nvSpPr>
            <p:cNvPr id="21" name="Rectangle 20"/>
            <p:cNvSpPr/>
            <p:nvPr/>
          </p:nvSpPr>
          <p:spPr>
            <a:xfrm>
              <a:off x="-324321" y="520896"/>
              <a:ext cx="4572000" cy="30819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defTabSz="457200">
                <a:defRPr/>
              </a:pPr>
              <a:r>
                <a:rPr lang="en-GB" sz="1400" dirty="0">
                  <a:solidFill>
                    <a:prstClr val="white">
                      <a:lumMod val="85000"/>
                    </a:prstClr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Children &amp; Young People’s Service 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16274" y="829093"/>
              <a:ext cx="4037900" cy="3310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457200">
                <a:defRPr/>
              </a:pPr>
              <a:r>
                <a:rPr lang="en-GB" sz="1550" dirty="0" smtClean="0">
                  <a:solidFill>
                    <a:prstClr val="white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Update on Emotional Health and Wellbeing </a:t>
              </a:r>
              <a:endParaRPr lang="en-GB" sz="1550" dirty="0">
                <a:solidFill>
                  <a:prstClr val="white"/>
                </a:solidFill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623417" y="825916"/>
              <a:ext cx="2676525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Rectangle 31">
            <a:extLst/>
          </p:cNvPr>
          <p:cNvSpPr/>
          <p:nvPr/>
        </p:nvSpPr>
        <p:spPr>
          <a:xfrm>
            <a:off x="0" y="1554163"/>
            <a:ext cx="9144000" cy="152400"/>
          </a:xfrm>
          <a:prstGeom prst="rect">
            <a:avLst/>
          </a:prstGeom>
          <a:solidFill>
            <a:srgbClr val="AABE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16" b="2498"/>
          <a:stretch/>
        </p:blipFill>
        <p:spPr bwMode="auto">
          <a:xfrm>
            <a:off x="3312887" y="1733887"/>
            <a:ext cx="2518227" cy="3265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16746" y="4964975"/>
            <a:ext cx="912725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ur exciting new HeadStart Kent Resilience Hub has now launched. It is the “go-to” site for everything to do with the emotional wellbeing and resilience of young people. </a:t>
            </a:r>
            <a:br>
              <a:rPr kumimoji="0" lang="en-GB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Just visit: </a:t>
            </a:r>
            <a:r>
              <a:rPr kumimoji="0" lang="en-GB" sz="1800" b="0" i="0" u="sng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www.headstartkent.org.uk</a:t>
            </a: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3124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5877272"/>
            <a:ext cx="7056784" cy="792088"/>
          </a:xfrm>
          <a:ln>
            <a:noFill/>
          </a:ln>
        </p:spPr>
        <p:txBody>
          <a:bodyPr>
            <a:noAutofit/>
          </a:bodyPr>
          <a:lstStyle/>
          <a:p>
            <a:pPr algn="l"/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 of High Needs Funding – </a:t>
            </a:r>
            <a:r>
              <a:rPr lang="en-GB" sz="32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32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320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ings and Proposals</a:t>
            </a:r>
            <a:r>
              <a:rPr lang="en-GB" sz="2800" i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2800" i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28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8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GB" sz="28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2800" b="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66"/>
          <a:stretch/>
        </p:blipFill>
        <p:spPr>
          <a:xfrm>
            <a:off x="-108520" y="-372"/>
            <a:ext cx="9252519" cy="5213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3697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67544" y="274638"/>
            <a:ext cx="8336731" cy="3298378"/>
          </a:xfrm>
        </p:spPr>
        <p:txBody>
          <a:bodyPr>
            <a:normAutofit/>
          </a:bodyPr>
          <a:lstStyle/>
          <a:p>
            <a:r>
              <a:rPr lang="en-GB" sz="5400" b="1" dirty="0" smtClean="0"/>
              <a:t>National Funding Formula</a:t>
            </a:r>
            <a:endParaRPr lang="en-GB" sz="5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538286" y="2852936"/>
            <a:ext cx="8027988" cy="1460149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charset="0"/>
              <a:buNone/>
            </a:pPr>
            <a:r>
              <a:rPr lang="en-GB" sz="4400" dirty="0" smtClean="0">
                <a:solidFill>
                  <a:srgbClr val="1F497D">
                    <a:lumMod val="60000"/>
                    <a:lumOff val="40000"/>
                  </a:srgbClr>
                </a:solidFill>
              </a:rPr>
              <a:t>Headteacher Meeting</a:t>
            </a:r>
          </a:p>
          <a:p>
            <a:pPr marL="0" indent="0" algn="ctr">
              <a:buFont typeface="Arial" charset="0"/>
              <a:buNone/>
            </a:pPr>
            <a:r>
              <a:rPr lang="en-GB" sz="4400" dirty="0" smtClean="0">
                <a:solidFill>
                  <a:srgbClr val="1F497D">
                    <a:lumMod val="60000"/>
                    <a:lumOff val="40000"/>
                  </a:srgbClr>
                </a:solidFill>
              </a:rPr>
              <a:t>November 2017</a:t>
            </a:r>
          </a:p>
          <a:p>
            <a:pPr marL="0" indent="0" algn="ctr">
              <a:buFont typeface="Arial" charset="0"/>
              <a:buNone/>
            </a:pPr>
            <a:endParaRPr lang="en-GB" sz="2800" dirty="0" smtClean="0">
              <a:solidFill>
                <a:srgbClr val="1F497D">
                  <a:lumMod val="60000"/>
                  <a:lumOff val="40000"/>
                </a:srgbClr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3600" kern="0" dirty="0"/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9" name="Subtitle 2"/>
          <p:cNvSpPr txBox="1">
            <a:spLocks/>
          </p:cNvSpPr>
          <p:nvPr/>
        </p:nvSpPr>
        <p:spPr>
          <a:xfrm>
            <a:off x="541734" y="5933720"/>
            <a:ext cx="5624810" cy="604437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en-GB" sz="1600" b="1" dirty="0" smtClean="0">
                <a:solidFill>
                  <a:srgbClr val="1F497D">
                    <a:lumMod val="60000"/>
                    <a:lumOff val="40000"/>
                  </a:srgbClr>
                </a:solidFill>
              </a:rPr>
              <a:t>Simon Pleace</a:t>
            </a:r>
          </a:p>
          <a:p>
            <a:pPr marL="0" indent="0">
              <a:buFont typeface="Arial" charset="0"/>
              <a:buNone/>
            </a:pPr>
            <a:r>
              <a:rPr lang="en-GB" sz="1600" b="1" dirty="0" smtClean="0">
                <a:solidFill>
                  <a:srgbClr val="1F497D">
                    <a:lumMod val="60000"/>
                    <a:lumOff val="40000"/>
                  </a:srgbClr>
                </a:solidFill>
              </a:rPr>
              <a:t>Finance Business Partner for CYPE</a:t>
            </a:r>
            <a:endParaRPr lang="en-GB" sz="1400" b="1" dirty="0">
              <a:solidFill>
                <a:srgbClr val="1F497D">
                  <a:lumMod val="60000"/>
                  <a:lumOff val="40000"/>
                </a:srgbClr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3600" kern="0" dirty="0"/>
          </a:p>
        </p:txBody>
      </p:sp>
    </p:spTree>
    <p:extLst>
      <p:ext uri="{BB962C8B-B14F-4D97-AF65-F5344CB8AC3E}">
        <p14:creationId xmlns:p14="http://schemas.microsoft.com/office/powerpoint/2010/main" val="3464084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539750" y="56777"/>
            <a:ext cx="8135937" cy="1143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buClr>
                <a:srgbClr val="376092"/>
              </a:buClr>
              <a:buSzPct val="100000"/>
              <a:buFont typeface="Calibri" pitchFamily="34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cs typeface="Arial" charset="0"/>
              </a:rPr>
              <a:t> </a:t>
            </a:r>
            <a:r>
              <a:rPr lang="en-GB" sz="3600" b="1" dirty="0" smtClean="0">
                <a:solidFill>
                  <a:srgbClr val="4283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 for SEN Pupils in Kent </a:t>
            </a:r>
            <a:endParaRPr lang="en-GB" sz="3600" b="1" dirty="0">
              <a:solidFill>
                <a:srgbClr val="4283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95288" y="1199777"/>
            <a:ext cx="8208962" cy="4145747"/>
          </a:xfrm>
          <a:prstGeom prst="rect">
            <a:avLst/>
          </a:prstGeom>
        </p:spPr>
        <p:txBody>
          <a:bodyPr>
            <a:noAutofit/>
          </a:bodyPr>
          <a:lstStyle>
            <a:lvl1pPr marL="341313" indent="-341313" eaLnBrk="0" hangingPunct="0">
              <a:defRPr>
                <a:solidFill>
                  <a:schemeClr val="bg1"/>
                </a:solidFill>
                <a:latin typeface="Calibri" charset="0"/>
                <a:ea typeface="ＭＳ Ｐゴシック" charset="0"/>
                <a:cs typeface="MS Gothic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9pPr>
          </a:lstStyle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YFS, the gap is 59% in 2017 and 15% achieved a good level of development, compared to 74% for all children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endParaRPr lang="en-GB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S1, 33% attained the expected standard in reading, 21% in writing, 36% in maths. Above national averages and improved on 2016. But gaps are very wide, 48%-58% and wider than the national gaps. 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endParaRPr lang="en-GB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S2, 19% attained the expected standard in RWM, 4% improved on 2016, compared to 64% for all pupils. Gap is 53%. </a:t>
            </a:r>
            <a:r>
              <a:rPr lang="en-GB" sz="2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x</a:t>
            </a: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3% attain the standard in reading, writing and maths. Gaps range from 47% to 56%.  </a:t>
            </a:r>
          </a:p>
        </p:txBody>
      </p:sp>
      <p:pic>
        <p:nvPicPr>
          <p:cNvPr id="15365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3825" y="58054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66" name="Straight Connector 6"/>
          <p:cNvCxnSpPr>
            <a:cxnSpLocks noChangeShapeType="1"/>
          </p:cNvCxnSpPr>
          <p:nvPr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120722194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539750" y="56777"/>
            <a:ext cx="8135937" cy="1143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buClr>
                <a:srgbClr val="376092"/>
              </a:buClr>
              <a:buSzPct val="100000"/>
              <a:buFont typeface="Calibri" pitchFamily="34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cs typeface="Arial" charset="0"/>
              </a:rPr>
              <a:t> </a:t>
            </a:r>
            <a:r>
              <a:rPr lang="en-GB" sz="3600" b="1" dirty="0" smtClean="0">
                <a:solidFill>
                  <a:srgbClr val="4283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comes for SEN Pupils in Kent at Key Stage 4 in 2016  </a:t>
            </a:r>
            <a:endParaRPr lang="en-GB" sz="3600" b="1" dirty="0">
              <a:solidFill>
                <a:srgbClr val="4283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95288" y="1299477"/>
            <a:ext cx="8208962" cy="4145747"/>
          </a:xfrm>
          <a:prstGeom prst="rect">
            <a:avLst/>
          </a:prstGeom>
        </p:spPr>
        <p:txBody>
          <a:bodyPr>
            <a:noAutofit/>
          </a:bodyPr>
          <a:lstStyle>
            <a:lvl1pPr marL="341313" indent="-341313" eaLnBrk="0" hangingPunct="0">
              <a:defRPr>
                <a:solidFill>
                  <a:schemeClr val="bg1"/>
                </a:solidFill>
                <a:latin typeface="Calibri" charset="0"/>
                <a:ea typeface="ＭＳ Ｐゴシック" charset="0"/>
                <a:cs typeface="MS Gothic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9pPr>
          </a:lstStyle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gap was 42% in 2017 and 26% achieved a good GCSE in English and Maths, compared to 64% for all children. 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endParaRPr lang="en-GB" sz="2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ightly better than the national average (23%) and the national gap figure of 46%.   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endParaRPr lang="en-GB" sz="2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average Progress 8 score was -0.72 for SEN pupils, compared to -0.55 nationally, and -0.04 for all pupils in Kent.  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endParaRPr lang="en-GB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365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3825" y="58054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66" name="Straight Connector 6"/>
          <p:cNvCxnSpPr>
            <a:cxnSpLocks noChangeShapeType="1"/>
          </p:cNvCxnSpPr>
          <p:nvPr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2103674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539750" y="56777"/>
            <a:ext cx="8135937" cy="1143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buClr>
                <a:srgbClr val="376092"/>
              </a:buClr>
              <a:buSzPct val="100000"/>
              <a:buFont typeface="Calibri" pitchFamily="34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ources for SEN Pupils in Kent </a:t>
            </a:r>
            <a:endParaRPr lang="en-GB" sz="3600" b="1" dirty="0">
              <a:solidFill>
                <a:srgbClr val="4283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95288" y="1199777"/>
            <a:ext cx="8208962" cy="4145747"/>
          </a:xfrm>
          <a:prstGeom prst="rect">
            <a:avLst/>
          </a:prstGeom>
        </p:spPr>
        <p:txBody>
          <a:bodyPr>
            <a:noAutofit/>
          </a:bodyPr>
          <a:lstStyle>
            <a:lvl1pPr marL="341313" indent="-341313" eaLnBrk="0" hangingPunct="0">
              <a:defRPr>
                <a:solidFill>
                  <a:schemeClr val="bg1"/>
                </a:solidFill>
                <a:latin typeface="Calibri" charset="0"/>
                <a:ea typeface="ＭＳ Ｐゴシック" charset="0"/>
                <a:cs typeface="MS Gothic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9pPr>
          </a:lstStyle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ional SEN in schools’ budgets £82m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endParaRPr lang="en-GB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Needs Funding £27m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endParaRPr lang="en-GB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T and Special School Outreach £7m 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endParaRPr lang="en-GB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cial schools £72m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endParaRPr lang="en-GB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 of County £31m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endParaRPr lang="en-GB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 £ 219 million</a:t>
            </a:r>
          </a:p>
        </p:txBody>
      </p:sp>
      <p:pic>
        <p:nvPicPr>
          <p:cNvPr id="15365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3825" y="58054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66" name="Straight Connector 6"/>
          <p:cNvCxnSpPr>
            <a:cxnSpLocks noChangeShapeType="1"/>
          </p:cNvCxnSpPr>
          <p:nvPr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160665651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395288" y="56777"/>
            <a:ext cx="8425184" cy="1143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buClr>
                <a:srgbClr val="376092"/>
              </a:buClr>
              <a:buSzPct val="100000"/>
              <a:buFont typeface="Calibri" pitchFamily="34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verarching Aims of the HNF Review</a:t>
            </a:r>
            <a:endParaRPr lang="en-GB" sz="3600" b="1" dirty="0">
              <a:solidFill>
                <a:srgbClr val="4283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95288" y="1268760"/>
            <a:ext cx="8208962" cy="4076764"/>
          </a:xfrm>
          <a:prstGeom prst="rect">
            <a:avLst/>
          </a:prstGeom>
        </p:spPr>
        <p:txBody>
          <a:bodyPr>
            <a:noAutofit/>
          </a:bodyPr>
          <a:lstStyle>
            <a:lvl1pPr marL="341313" indent="-341313" eaLnBrk="0" hangingPunct="0">
              <a:defRPr>
                <a:solidFill>
                  <a:schemeClr val="bg1"/>
                </a:solidFill>
                <a:latin typeface="Calibri" charset="0"/>
                <a:ea typeface="ＭＳ Ｐゴシック" charset="0"/>
                <a:cs typeface="MS Gothic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9pPr>
          </a:lstStyle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ensure the high needs top up budget is more  predictable and more closely linked to patterns of need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budget can continue to fund the top up required by schools to support the pupils with the most severe and complex needs that may otherwise warrant statutory assessment 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ensure the budget is also used well in tandem with other resources such as LIFT to get the best outcomes for pupils 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develop a new funding model to ensure HNF can be managed within £30m cap </a:t>
            </a:r>
          </a:p>
        </p:txBody>
      </p:sp>
      <p:pic>
        <p:nvPicPr>
          <p:cNvPr id="15365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3825" y="58054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66" name="Straight Connector 6"/>
          <p:cNvCxnSpPr>
            <a:cxnSpLocks noChangeShapeType="1"/>
          </p:cNvCxnSpPr>
          <p:nvPr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160812257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0" y="-171400"/>
            <a:ext cx="9144000" cy="1143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buClr>
                <a:srgbClr val="376092"/>
              </a:buClr>
              <a:buSzPct val="100000"/>
              <a:buFont typeface="Calibri" pitchFamily="34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est Practice is Whole School Approach  </a:t>
            </a:r>
            <a:endParaRPr lang="en-GB" sz="3600" b="1" dirty="0">
              <a:solidFill>
                <a:srgbClr val="4283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95288" y="1268760"/>
            <a:ext cx="8208962" cy="4076764"/>
          </a:xfrm>
          <a:prstGeom prst="rect">
            <a:avLst/>
          </a:prstGeom>
        </p:spPr>
        <p:txBody>
          <a:bodyPr>
            <a:noAutofit/>
          </a:bodyPr>
          <a:lstStyle>
            <a:lvl1pPr marL="341313" indent="-341313" eaLnBrk="0" hangingPunct="0">
              <a:defRPr>
                <a:solidFill>
                  <a:schemeClr val="bg1"/>
                </a:solidFill>
                <a:latin typeface="Calibri" charset="0"/>
                <a:ea typeface="ＭＳ Ｐゴシック" charset="0"/>
                <a:cs typeface="MS Gothic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9pPr>
          </a:lstStyle>
          <a:p>
            <a:pPr marL="342900" indent="-342900">
              <a:lnSpc>
                <a:spcPct val="115000"/>
              </a:lnSpc>
              <a:spcAft>
                <a:spcPts val="800"/>
              </a:spcAft>
              <a:buFont typeface="Symbol"/>
              <a:buChar char=""/>
            </a:pPr>
            <a:endParaRPr lang="en-GB" sz="2000" dirty="0">
              <a:solidFill>
                <a:prstClr val="white"/>
              </a:solidFill>
              <a:latin typeface="Calibri"/>
              <a:ea typeface="Calibri"/>
              <a:cs typeface="Times New Roman"/>
            </a:endParaRPr>
          </a:p>
        </p:txBody>
      </p:sp>
      <p:pic>
        <p:nvPicPr>
          <p:cNvPr id="15365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3825" y="58054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66" name="Straight Connector 6"/>
          <p:cNvCxnSpPr>
            <a:cxnSpLocks noChangeShapeType="1"/>
          </p:cNvCxnSpPr>
          <p:nvPr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4" name="Rectangle 3"/>
          <p:cNvSpPr/>
          <p:nvPr/>
        </p:nvSpPr>
        <p:spPr>
          <a:xfrm>
            <a:off x="179512" y="764704"/>
            <a:ext cx="8784976" cy="490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GB" sz="2200" dirty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S</a:t>
            </a: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chools, </a:t>
            </a:r>
            <a:r>
              <a:rPr lang="en-GB" sz="2200" b="1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regardless of size</a:t>
            </a: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,  </a:t>
            </a:r>
            <a:r>
              <a:rPr lang="en-GB" sz="2200" dirty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with proportionally smaller numbers of children with </a:t>
            </a: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HNF: </a:t>
            </a:r>
          </a:p>
          <a:p>
            <a:pPr marL="342900" indent="-342900">
              <a:spcAft>
                <a:spcPts val="800"/>
              </a:spcAft>
              <a:buFont typeface="Symbol"/>
              <a:buChar char=""/>
            </a:pPr>
            <a:r>
              <a:rPr lang="en-GB" sz="2200" dirty="0">
                <a:solidFill>
                  <a:prstClr val="black"/>
                </a:solidFill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Identified</a:t>
            </a: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 </a:t>
            </a:r>
            <a:r>
              <a:rPr lang="en-GB" sz="2200" dirty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their universal offer for SEN as a whole school </a:t>
            </a: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response (whole school budget) and </a:t>
            </a:r>
            <a:r>
              <a:rPr lang="en-GB" sz="2200" dirty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graduated </a:t>
            </a: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approach; included </a:t>
            </a:r>
            <a:r>
              <a:rPr lang="en-GB" sz="2200" dirty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details of Quality First Teaching (QFT</a:t>
            </a: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) and </a:t>
            </a:r>
            <a:r>
              <a:rPr lang="en-GB" sz="2200" dirty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in class </a:t>
            </a: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support and differentiation; highlighting SEN </a:t>
            </a:r>
            <a:r>
              <a:rPr lang="en-GB" sz="2200" dirty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is the class teacher’s </a:t>
            </a: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responsibility.</a:t>
            </a:r>
          </a:p>
          <a:p>
            <a:pPr marL="342900" indent="-342900">
              <a:spcAft>
                <a:spcPts val="800"/>
              </a:spcAft>
              <a:buFont typeface="Symbol"/>
              <a:buChar char=""/>
            </a:pP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Plan </a:t>
            </a:r>
            <a:r>
              <a:rPr lang="en-GB" sz="2200" dirty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SEN </a:t>
            </a: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provision as part of whole class teaching; class </a:t>
            </a:r>
            <a:r>
              <a:rPr lang="en-GB" sz="2200" dirty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teachers </a:t>
            </a: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are responsible </a:t>
            </a:r>
            <a:r>
              <a:rPr lang="en-GB" sz="2200" dirty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for in-depth provision </a:t>
            </a: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mapping and monitoring of progress. </a:t>
            </a:r>
            <a:endParaRPr lang="en-GB" sz="2200" dirty="0">
              <a:solidFill>
                <a:prstClr val="black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  <a:p>
            <a:pPr marL="342900" indent="-342900">
              <a:spcAft>
                <a:spcPts val="800"/>
              </a:spcAft>
              <a:buFont typeface="Symbol"/>
              <a:buChar char=""/>
            </a:pP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Monitor </a:t>
            </a:r>
            <a:r>
              <a:rPr lang="en-GB" sz="2200" dirty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the progress of SEN pupils and overall effectiveness of the </a:t>
            </a: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interventions on attainment; </a:t>
            </a:r>
            <a:r>
              <a:rPr lang="en-GB" sz="2200" dirty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class teachers </a:t>
            </a: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primarily with </a:t>
            </a:r>
            <a:r>
              <a:rPr lang="en-GB" sz="2200" dirty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oversight from the </a:t>
            </a:r>
            <a:r>
              <a:rPr lang="en-GB" sz="2200" dirty="0" err="1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SENCo</a:t>
            </a:r>
            <a:r>
              <a:rPr lang="en-GB" sz="2200" dirty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 and SMT</a:t>
            </a:r>
            <a:r>
              <a:rPr lang="en-GB" sz="2200" dirty="0" smtClean="0">
                <a:solidFill>
                  <a:prstClr val="black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5944322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504032" y="332656"/>
            <a:ext cx="8135937" cy="867121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buClr>
                <a:srgbClr val="376092"/>
              </a:buClr>
              <a:buSzPct val="100000"/>
              <a:buFont typeface="Calibri" pitchFamily="34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Practice:</a:t>
            </a:r>
            <a:endParaRPr lang="en-GB" sz="3600" b="1" dirty="0">
              <a:solidFill>
                <a:srgbClr val="4283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95288" y="1268760"/>
            <a:ext cx="8208962" cy="4076764"/>
          </a:xfrm>
          <a:prstGeom prst="rect">
            <a:avLst/>
          </a:prstGeom>
        </p:spPr>
        <p:txBody>
          <a:bodyPr>
            <a:noAutofit/>
          </a:bodyPr>
          <a:lstStyle>
            <a:lvl1pPr marL="341313" indent="-341313" eaLnBrk="0" hangingPunct="0">
              <a:defRPr>
                <a:solidFill>
                  <a:schemeClr val="bg1"/>
                </a:solidFill>
                <a:latin typeface="Calibri" charset="0"/>
                <a:ea typeface="ＭＳ Ｐゴシック" charset="0"/>
                <a:cs typeface="MS Gothic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9pPr>
          </a:lstStyle>
          <a:p>
            <a:pPr marL="342900" indent="-342900">
              <a:lnSpc>
                <a:spcPct val="115000"/>
              </a:lnSpc>
              <a:spcAft>
                <a:spcPts val="800"/>
              </a:spcAft>
              <a:buFont typeface="Symbol"/>
              <a:buChar char=""/>
            </a:pPr>
            <a:endParaRPr lang="en-GB" sz="2000" dirty="0">
              <a:solidFill>
                <a:prstClr val="white"/>
              </a:solidFill>
              <a:latin typeface="Calibri"/>
              <a:ea typeface="Calibri"/>
              <a:cs typeface="Times New Roman"/>
            </a:endParaRPr>
          </a:p>
        </p:txBody>
      </p:sp>
      <p:pic>
        <p:nvPicPr>
          <p:cNvPr id="15365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3825" y="58054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66" name="Straight Connector 6"/>
          <p:cNvCxnSpPr>
            <a:cxnSpLocks noChangeShapeType="1"/>
          </p:cNvCxnSpPr>
          <p:nvPr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4" name="Rectangle 3"/>
          <p:cNvSpPr/>
          <p:nvPr/>
        </p:nvSpPr>
        <p:spPr>
          <a:xfrm>
            <a:off x="179512" y="1199777"/>
            <a:ext cx="8784976" cy="4196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Symbol"/>
              <a:buChar char=""/>
            </a:pPr>
            <a:r>
              <a:rPr lang="en-GB" sz="2600" dirty="0" smtClean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Focused </a:t>
            </a:r>
            <a:r>
              <a:rPr lang="en-GB" sz="26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on developing independent learning skills </a:t>
            </a:r>
            <a:r>
              <a:rPr lang="en-GB" sz="2600" dirty="0" smtClean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as well as </a:t>
            </a:r>
            <a:r>
              <a:rPr lang="en-GB" sz="26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achieving </a:t>
            </a:r>
            <a:r>
              <a:rPr lang="en-GB" sz="2600" dirty="0" smtClean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SEN outcomes</a:t>
            </a:r>
            <a:r>
              <a:rPr lang="en-GB" sz="26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.</a:t>
            </a:r>
          </a:p>
          <a:p>
            <a:pPr marL="342900" indent="-342900">
              <a:buFont typeface="Symbol"/>
              <a:buChar char=""/>
            </a:pPr>
            <a:r>
              <a:rPr lang="en-GB" sz="26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Involved pupils and parents in planning </a:t>
            </a:r>
            <a:r>
              <a:rPr lang="en-GB" sz="2600" dirty="0" smtClean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provision</a:t>
            </a:r>
            <a:r>
              <a:rPr lang="en-GB" sz="26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. </a:t>
            </a:r>
          </a:p>
          <a:p>
            <a:pPr marL="342900" indent="-342900">
              <a:buFont typeface="Symbol"/>
              <a:buChar char=""/>
            </a:pPr>
            <a:r>
              <a:rPr lang="en-GB" sz="26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Have trained teaching assistants (TAs) delivering small group interventions </a:t>
            </a:r>
            <a:endParaRPr lang="en-GB" sz="2600" dirty="0">
              <a:solidFill>
                <a:prstClr val="black"/>
              </a:solidFill>
              <a:ea typeface="Calibri"/>
              <a:cs typeface="Times New Roman"/>
            </a:endParaRPr>
          </a:p>
          <a:p>
            <a:pPr marL="342900" indent="-342900">
              <a:buFont typeface="Symbol"/>
              <a:buChar char=""/>
            </a:pPr>
            <a:r>
              <a:rPr lang="en-GB" sz="2600" dirty="0" smtClean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Have class </a:t>
            </a:r>
            <a:r>
              <a:rPr lang="en-GB" sz="26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teachers work with children with SEN, </a:t>
            </a:r>
            <a:r>
              <a:rPr lang="en-GB" sz="2600" dirty="0" smtClean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individually </a:t>
            </a:r>
            <a:r>
              <a:rPr lang="en-GB" sz="26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or as part of a group.  </a:t>
            </a:r>
            <a:endParaRPr lang="en-GB" sz="2600" dirty="0">
              <a:solidFill>
                <a:prstClr val="black"/>
              </a:solidFill>
              <a:ea typeface="Calibri"/>
              <a:cs typeface="Times New Roman"/>
            </a:endParaRPr>
          </a:p>
          <a:p>
            <a:pPr marL="342900" indent="-342900">
              <a:spcAft>
                <a:spcPts val="800"/>
              </a:spcAft>
              <a:buFont typeface="Symbol"/>
              <a:buChar char=""/>
            </a:pPr>
            <a:r>
              <a:rPr lang="en-GB" sz="2600" dirty="0" smtClean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Have SMART </a:t>
            </a:r>
            <a:r>
              <a:rPr lang="en-GB" sz="26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targets </a:t>
            </a:r>
            <a:r>
              <a:rPr lang="en-GB" sz="2600" dirty="0" smtClean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set </a:t>
            </a:r>
            <a:r>
              <a:rPr lang="en-GB" sz="26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and tracked for time limited interventions</a:t>
            </a:r>
            <a:r>
              <a:rPr lang="en-GB" sz="2600" dirty="0" smtClean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.</a:t>
            </a:r>
          </a:p>
          <a:p>
            <a:pPr marL="342900" indent="-342900">
              <a:spcAft>
                <a:spcPts val="800"/>
              </a:spcAft>
              <a:buFont typeface="Symbol"/>
              <a:buChar char=""/>
            </a:pPr>
            <a:r>
              <a:rPr lang="en-GB" sz="2600" dirty="0" smtClean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Used evidence based interventions.</a:t>
            </a:r>
          </a:p>
        </p:txBody>
      </p:sp>
    </p:spTree>
    <p:extLst>
      <p:ext uri="{BB962C8B-B14F-4D97-AF65-F5344CB8AC3E}">
        <p14:creationId xmlns:p14="http://schemas.microsoft.com/office/powerpoint/2010/main" val="84535501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539502" y="116632"/>
            <a:ext cx="8135937" cy="89743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buClr>
                <a:srgbClr val="376092"/>
              </a:buClr>
              <a:buSzPct val="100000"/>
              <a:buFont typeface="Calibri" pitchFamily="34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 Findings  </a:t>
            </a:r>
            <a:endParaRPr lang="en-GB" sz="3600" b="1" dirty="0">
              <a:solidFill>
                <a:srgbClr val="4283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179512" y="963499"/>
            <a:ext cx="8784976" cy="4551237"/>
          </a:xfrm>
          <a:prstGeom prst="rect">
            <a:avLst/>
          </a:prstGeom>
        </p:spPr>
        <p:txBody>
          <a:bodyPr>
            <a:noAutofit/>
          </a:bodyPr>
          <a:lstStyle>
            <a:lvl1pPr marL="341313" indent="-341313" eaLnBrk="0" hangingPunct="0">
              <a:defRPr>
                <a:solidFill>
                  <a:schemeClr val="bg1"/>
                </a:solidFill>
                <a:latin typeface="Calibri" charset="0"/>
                <a:ea typeface="ＭＳ Ｐゴシック" charset="0"/>
                <a:cs typeface="MS Gothic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9pPr>
          </a:lstStyle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5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The demand for HNF does not always follow a pattern related to pupil profile and levels of need across the schools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5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Wide variations in uses and access to HNF in schools across the county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5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Over-reliance on </a:t>
            </a:r>
            <a:r>
              <a:rPr lang="en-GB" sz="2500" dirty="0" smtClean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TAs providing 1:1 support and not always delivering </a:t>
            </a:r>
            <a:r>
              <a:rPr lang="en-GB" sz="25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evidenced based intervention for pupils  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5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More inclusive schools with whole school approaches to SEN make less demand on HNF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5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Training for all staff is needed to raise capacity in schools to address ASD, </a:t>
            </a:r>
            <a:r>
              <a:rPr lang="en-GB" sz="2500" dirty="0" smtClean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Speech &amp; Language </a:t>
            </a:r>
            <a:r>
              <a:rPr lang="en-GB" sz="2500" dirty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and </a:t>
            </a:r>
            <a:r>
              <a:rPr lang="en-GB" sz="2500" dirty="0" smtClean="0">
                <a:solidFill>
                  <a:prstClr val="black"/>
                </a:solidFill>
                <a:latin typeface="Arial"/>
                <a:ea typeface="Calibri"/>
                <a:cs typeface="Times New Roman"/>
              </a:rPr>
              <a:t>SEMH. Schools where staff are trained have more impact.</a:t>
            </a:r>
            <a:endParaRPr lang="en-GB" sz="2500" dirty="0">
              <a:solidFill>
                <a:prstClr val="black"/>
              </a:solidFill>
              <a:latin typeface="Arial"/>
              <a:ea typeface="Calibri"/>
              <a:cs typeface="Times New Roman"/>
            </a:endParaRPr>
          </a:p>
        </p:txBody>
      </p:sp>
      <p:pic>
        <p:nvPicPr>
          <p:cNvPr id="15365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3825" y="58054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66" name="Straight Connector 6"/>
          <p:cNvCxnSpPr>
            <a:cxnSpLocks noChangeShapeType="1"/>
          </p:cNvCxnSpPr>
          <p:nvPr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16883162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468313" y="328993"/>
            <a:ext cx="8135937" cy="1143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buClr>
                <a:srgbClr val="376092"/>
              </a:buClr>
              <a:buSzPct val="100000"/>
              <a:buFont typeface="Calibri" pitchFamily="34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cs typeface="Arial" charset="0"/>
              </a:rPr>
              <a:t> </a:t>
            </a:r>
            <a:r>
              <a:rPr lang="en-GB" sz="3600" b="1" dirty="0" smtClean="0">
                <a:solidFill>
                  <a:srgbClr val="4283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 Findings</a:t>
            </a:r>
            <a:endParaRPr lang="en-GB" sz="3600" b="1" dirty="0">
              <a:solidFill>
                <a:srgbClr val="4283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49263" y="1268760"/>
            <a:ext cx="8208962" cy="4248472"/>
          </a:xfrm>
          <a:prstGeom prst="rect">
            <a:avLst/>
          </a:prstGeom>
        </p:spPr>
        <p:txBody>
          <a:bodyPr>
            <a:noAutofit/>
          </a:bodyPr>
          <a:lstStyle>
            <a:lvl1pPr marL="341313" indent="-341313" eaLnBrk="0" hangingPunct="0">
              <a:defRPr>
                <a:solidFill>
                  <a:schemeClr val="bg1"/>
                </a:solidFill>
                <a:latin typeface="Calibri" charset="0"/>
                <a:ea typeface="ＭＳ Ｐゴシック" charset="0"/>
                <a:cs typeface="MS Gothic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9pPr>
          </a:lstStyle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de variation in the understanding of  ‘normally available resource’ and ‘best endeavours’ means some schools not clear about resources and support for SEN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ectiveness and impact of provision is variable re pupil outcomes  </a:t>
            </a:r>
          </a:p>
          <a:p>
            <a:pPr marL="285750" indent="-28575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 to re-visit the criteria and decision making process for HNF to ensure resources are allocated to pupils with most complex needs and spent on the most effective interventions</a:t>
            </a:r>
          </a:p>
        </p:txBody>
      </p:sp>
      <p:pic>
        <p:nvPicPr>
          <p:cNvPr id="15365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3825" y="58054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66" name="Straight Connector 6"/>
          <p:cNvCxnSpPr>
            <a:cxnSpLocks noChangeShapeType="1"/>
          </p:cNvCxnSpPr>
          <p:nvPr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236656806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451500" y="188640"/>
            <a:ext cx="8135937" cy="89743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buClr>
                <a:srgbClr val="376092"/>
              </a:buClr>
              <a:buSzPct val="100000"/>
              <a:buFont typeface="Calibri" pitchFamily="34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cs typeface="Arial" charset="0"/>
              </a:rPr>
              <a:t> </a:t>
            </a:r>
            <a:r>
              <a:rPr lang="en-GB" sz="3600" b="1" dirty="0" smtClean="0">
                <a:solidFill>
                  <a:srgbClr val="4283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 Findings</a:t>
            </a:r>
            <a:endParaRPr lang="en-GB" sz="3600" b="1" dirty="0">
              <a:solidFill>
                <a:srgbClr val="4283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107504" y="980952"/>
            <a:ext cx="8928992" cy="4824536"/>
          </a:xfrm>
          <a:prstGeom prst="rect">
            <a:avLst/>
          </a:prstGeom>
        </p:spPr>
        <p:txBody>
          <a:bodyPr>
            <a:noAutofit/>
          </a:bodyPr>
          <a:lstStyle>
            <a:lvl1pPr marL="341313" indent="-341313" eaLnBrk="0" hangingPunct="0">
              <a:defRPr>
                <a:solidFill>
                  <a:schemeClr val="bg1"/>
                </a:solidFill>
                <a:latin typeface="Calibri" charset="0"/>
                <a:ea typeface="ＭＳ Ｐゴシック" charset="0"/>
                <a:cs typeface="MS Gothic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9pPr>
          </a:lstStyle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ools with similar characteristics (Size, IDACI, Prior Attainment) have very contrasting numbers of High </a:t>
            </a:r>
            <a:r>
              <a:rPr lang="en-GB" sz="2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n-GB" sz="2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eds funded pupils, some are out of line with the patterns or trends for most other similar schools.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endParaRPr lang="en-GB" sz="25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r categories of schools identified : </a:t>
            </a:r>
          </a:p>
          <a:p>
            <a:pPr marL="0" indent="0">
              <a:buClr>
                <a:srgbClr val="4283C4"/>
              </a:buClr>
            </a:pPr>
            <a:r>
              <a:rPr lang="en-GB" sz="2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1) very inclusive, good provision, little HNF demand </a:t>
            </a:r>
          </a:p>
          <a:p>
            <a:pPr marL="0" indent="0">
              <a:buClr>
                <a:srgbClr val="4283C4"/>
              </a:buClr>
            </a:pPr>
            <a:r>
              <a:rPr lang="en-GB" sz="2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2) appropriate levels of demand on HNF; used well </a:t>
            </a:r>
          </a:p>
          <a:p>
            <a:pPr marL="0" indent="0">
              <a:buClr>
                <a:srgbClr val="4283C4"/>
              </a:buClr>
            </a:pPr>
            <a:r>
              <a:rPr lang="en-GB" sz="2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3) over reliance on HNF and TAs; some ineffective 		 </a:t>
            </a:r>
            <a:r>
              <a:rPr lang="en-GB" sz="2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interventions; </a:t>
            </a:r>
          </a:p>
          <a:p>
            <a:pPr marL="0" indent="0">
              <a:buClr>
                <a:srgbClr val="4283C4"/>
              </a:buClr>
            </a:pPr>
            <a:r>
              <a:rPr lang="en-GB" sz="25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4) very little use of HNF, do not always engage in LIFT 	    and may not have effective SEN provision.  </a:t>
            </a:r>
          </a:p>
        </p:txBody>
      </p:sp>
      <p:pic>
        <p:nvPicPr>
          <p:cNvPr id="15365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3825" y="58054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66" name="Straight Connector 6"/>
          <p:cNvCxnSpPr>
            <a:cxnSpLocks noChangeShapeType="1"/>
          </p:cNvCxnSpPr>
          <p:nvPr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348491296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88641"/>
            <a:ext cx="9144000" cy="720080"/>
          </a:xfrm>
        </p:spPr>
        <p:txBody>
          <a:bodyPr>
            <a:noAutofit/>
          </a:bodyPr>
          <a:lstStyle/>
          <a:p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Needs Funding - Primary School examples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4263124"/>
              </p:ext>
            </p:extLst>
          </p:nvPr>
        </p:nvGraphicFramePr>
        <p:xfrm>
          <a:off x="2049488" y="1628800"/>
          <a:ext cx="5184576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6144"/>
                <a:gridCol w="1296144"/>
                <a:gridCol w="1296144"/>
                <a:gridCol w="1296144"/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Pupil Number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High</a:t>
                      </a:r>
                      <a:r>
                        <a:rPr lang="en-GB" baseline="0" dirty="0" smtClean="0"/>
                        <a:t> Needs Number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Percentage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School A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109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8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7.3%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School B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10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2.0%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School 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14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0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0.0%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755576" y="980728"/>
            <a:ext cx="7772400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ll schools with low levels of Notional SEN</a:t>
            </a: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55576" y="3573016"/>
            <a:ext cx="7772400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ll schools with high levels of Notional SEN</a:t>
            </a: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9332420"/>
              </p:ext>
            </p:extLst>
          </p:nvPr>
        </p:nvGraphicFramePr>
        <p:xfrm>
          <a:off x="1979712" y="4245114"/>
          <a:ext cx="5184576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6144"/>
                <a:gridCol w="1296144"/>
                <a:gridCol w="1296144"/>
                <a:gridCol w="1296144"/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Pupil Number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High</a:t>
                      </a:r>
                      <a:r>
                        <a:rPr lang="en-GB" baseline="0" dirty="0" smtClean="0"/>
                        <a:t> Needs Number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Percentage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School A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148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9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6.1%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School B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119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3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2.5%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School 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198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0.5%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9737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6262" y="49524"/>
            <a:ext cx="8228013" cy="1141412"/>
          </a:xfrm>
        </p:spPr>
        <p:txBody>
          <a:bodyPr>
            <a:normAutofit/>
          </a:bodyPr>
          <a:lstStyle/>
          <a:p>
            <a:pPr algn="l"/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Context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160445" y="980728"/>
            <a:ext cx="8784976" cy="4418293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1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fE</a:t>
            </a:r>
            <a:r>
              <a:rPr lang="en-GB" sz="31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nouncement in mid July 2017 confirming introduction of NFF and an additional £1.3bn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1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in addition to the £1.3bn announced in the 2015 spending review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1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school budget increasing from just under £41bn in 2017-18 to £43.5bn in 2019-20, an increase of 6.3%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1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x. half of the £2.6bn relates to pupil growth</a:t>
            </a:r>
            <a:endParaRPr lang="en-GB" sz="3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en-GB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0" indent="0">
              <a:buFont typeface="Arial" charset="0"/>
              <a:buNone/>
            </a:pPr>
            <a:endParaRPr lang="en-GB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4026791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88641"/>
            <a:ext cx="9144000" cy="720080"/>
          </a:xfrm>
        </p:spPr>
        <p:txBody>
          <a:bodyPr>
            <a:noAutofit/>
          </a:bodyPr>
          <a:lstStyle/>
          <a:p>
            <a:r>
              <a:rPr lang="en-GB" sz="3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Needs Funding - Primary School examples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9262041"/>
              </p:ext>
            </p:extLst>
          </p:nvPr>
        </p:nvGraphicFramePr>
        <p:xfrm>
          <a:off x="2049488" y="1628800"/>
          <a:ext cx="5184576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6144"/>
                <a:gridCol w="1296144"/>
                <a:gridCol w="1296144"/>
                <a:gridCol w="1296144"/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Pupil Number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High</a:t>
                      </a:r>
                      <a:r>
                        <a:rPr lang="en-GB" baseline="0" dirty="0" smtClean="0"/>
                        <a:t> Needs Number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Percentage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School A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459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25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5.4%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School B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454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1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2.4%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School 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48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3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0.6%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755576" y="980728"/>
            <a:ext cx="7772400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chools with low levels of Notional SEN</a:t>
            </a: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55576" y="3573016"/>
            <a:ext cx="7772400" cy="7200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0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rge schools with high levels of Notional SEN</a:t>
            </a:r>
            <a:endParaRPr lang="en-GB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3477635"/>
              </p:ext>
            </p:extLst>
          </p:nvPr>
        </p:nvGraphicFramePr>
        <p:xfrm>
          <a:off x="1979712" y="4245114"/>
          <a:ext cx="5184576" cy="1752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6144"/>
                <a:gridCol w="1296144"/>
                <a:gridCol w="1296144"/>
                <a:gridCol w="1296144"/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Pupil Number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High</a:t>
                      </a:r>
                      <a:r>
                        <a:rPr lang="en-GB" baseline="0" dirty="0" smtClean="0"/>
                        <a:t> Needs Number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Percentage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School A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42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27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6.4%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School B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405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7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1.7%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School 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415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2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0.5%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5398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468313" y="371325"/>
            <a:ext cx="8135937" cy="1143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buClr>
                <a:srgbClr val="376092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cs typeface="Arial" charset="0"/>
              </a:rPr>
              <a:t> </a:t>
            </a:r>
          </a:p>
          <a:p>
            <a:pPr algn="ctr">
              <a:buClr>
                <a:srgbClr val="376092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als </a:t>
            </a:r>
          </a:p>
          <a:p>
            <a:pPr algn="ctr">
              <a:buClr>
                <a:srgbClr val="376092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effective targeting of HNF</a:t>
            </a:r>
            <a:endParaRPr lang="en-GB" sz="3600" b="1" dirty="0">
              <a:solidFill>
                <a:srgbClr val="4283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Clr>
                <a:srgbClr val="376092"/>
              </a:buClr>
              <a:buSzPct val="100000"/>
              <a:buFont typeface="Calibri" pitchFamily="34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en-GB" sz="3600" b="1" dirty="0">
              <a:solidFill>
                <a:srgbClr val="4283C4"/>
              </a:solidFill>
              <a:cs typeface="Arial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75477" y="1412776"/>
            <a:ext cx="8208962" cy="3960439"/>
          </a:xfrm>
          <a:prstGeom prst="rect">
            <a:avLst/>
          </a:prstGeom>
        </p:spPr>
        <p:txBody>
          <a:bodyPr>
            <a:noAutofit/>
          </a:bodyPr>
          <a:lstStyle>
            <a:lvl1pPr marL="341313" indent="-341313" eaLnBrk="0" hangingPunct="0">
              <a:defRPr>
                <a:solidFill>
                  <a:schemeClr val="bg1"/>
                </a:solidFill>
                <a:latin typeface="Calibri" charset="0"/>
                <a:ea typeface="ＭＳ Ｐゴシック" charset="0"/>
                <a:cs typeface="MS Gothic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9pPr>
          </a:lstStyle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endParaRPr lang="en-GB" sz="2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365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3825" y="58054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66" name="Straight Connector 6"/>
          <p:cNvCxnSpPr>
            <a:cxnSpLocks noChangeShapeType="1"/>
          </p:cNvCxnSpPr>
          <p:nvPr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205288"/>
          </a:xfrm>
        </p:spPr>
        <p:txBody>
          <a:bodyPr>
            <a:normAutofit/>
          </a:bodyPr>
          <a:lstStyle/>
          <a:p>
            <a:pPr marL="0" indent="0" algn="ctr">
              <a:buClr>
                <a:srgbClr val="376092"/>
              </a:buClr>
              <a:buSzPct val="10000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gibility, Affordability</a:t>
            </a:r>
            <a:endParaRPr lang="en-GB" sz="3600" b="1" dirty="0">
              <a:solidFill>
                <a:srgbClr val="4283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376092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Focusing on pupils with the most complex needs</a:t>
            </a:r>
          </a:p>
          <a:p>
            <a:pPr>
              <a:buClr>
                <a:srgbClr val="376092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Avoiding unnecessary statutory assessment and ensuring early intervention; back to basic purpose of HNF</a:t>
            </a:r>
          </a:p>
          <a:p>
            <a:pPr>
              <a:buClr>
                <a:srgbClr val="376092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larifying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resources available to 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chools 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376092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Using whole school budget and district LIFT resource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376092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Ensure processes are transparent and have fewer steps in the application process</a:t>
            </a:r>
          </a:p>
          <a:p>
            <a:pPr>
              <a:buClr>
                <a:srgbClr val="376092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en-GB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376092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Clr>
                <a:srgbClr val="376092"/>
              </a:buClr>
              <a:buSzPct val="100000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endParaRPr lang="en-GB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252003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468313" y="44624"/>
            <a:ext cx="8135937" cy="864096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buClr>
                <a:srgbClr val="376092"/>
              </a:buClr>
              <a:buSzPct val="100000"/>
              <a:buFont typeface="Calibri" pitchFamily="34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posals - Eligibility</a:t>
            </a:r>
            <a:endParaRPr lang="en-GB" sz="3600" b="1" dirty="0">
              <a:solidFill>
                <a:srgbClr val="4283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75477" y="1412776"/>
            <a:ext cx="8208962" cy="3960439"/>
          </a:xfrm>
          <a:prstGeom prst="rect">
            <a:avLst/>
          </a:prstGeom>
        </p:spPr>
        <p:txBody>
          <a:bodyPr>
            <a:noAutofit/>
          </a:bodyPr>
          <a:lstStyle>
            <a:lvl1pPr marL="341313" indent="-341313" eaLnBrk="0" hangingPunct="0">
              <a:defRPr>
                <a:solidFill>
                  <a:schemeClr val="bg1"/>
                </a:solidFill>
                <a:latin typeface="Calibri" charset="0"/>
                <a:ea typeface="ＭＳ Ｐゴシック" charset="0"/>
                <a:cs typeface="MS Gothic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9pPr>
          </a:lstStyle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endParaRPr lang="en-GB" sz="2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365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3825" y="58054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66" name="Straight Connector 6"/>
          <p:cNvCxnSpPr>
            <a:cxnSpLocks noChangeShapeType="1"/>
          </p:cNvCxnSpPr>
          <p:nvPr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6" name="Content Placeholder 2"/>
          <p:cNvSpPr txBox="1">
            <a:spLocks/>
          </p:cNvSpPr>
          <p:nvPr/>
        </p:nvSpPr>
        <p:spPr>
          <a:xfrm>
            <a:off x="107504" y="764704"/>
            <a:ext cx="8928992" cy="4448249"/>
          </a:xfrm>
          <a:prstGeom prst="rect">
            <a:avLst/>
          </a:prstGeom>
        </p:spPr>
        <p:txBody>
          <a:bodyPr>
            <a:noAutofit/>
          </a:bodyPr>
          <a:lstStyle>
            <a:lvl1pPr marL="341313" indent="-341313" eaLnBrk="0" hangingPunct="0">
              <a:defRPr>
                <a:solidFill>
                  <a:schemeClr val="bg1"/>
                </a:solidFill>
                <a:latin typeface="Calibri" charset="0"/>
                <a:ea typeface="ＭＳ Ｐゴシック" charset="0"/>
                <a:cs typeface="MS Gothic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9pPr>
          </a:lstStyle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earer criteria so all schools better understand which pupils HNF is targeting in order to apply for top up funding.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explicit about expectation that schools can evidence how their normally available resource has been used.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ater emphasis on assess</a:t>
            </a:r>
            <a:r>
              <a:rPr lang="en-GB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lan, do and </a:t>
            </a: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 cycle to plan for and achieve progress.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sation of the district LIFT offer as part of the provision.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ctations </a:t>
            </a:r>
            <a:r>
              <a:rPr lang="en-GB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relevant whole school training </a:t>
            </a: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GB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pils’ </a:t>
            </a:r>
            <a:r>
              <a:rPr lang="en-GB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 </a:t>
            </a: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e.eg. ASD awareness raising 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ing the delivery of the best practice evidence based interventions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e school costs will not fall within HNF and will not be funded. </a:t>
            </a:r>
            <a:r>
              <a:rPr lang="en-GB" sz="2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</a:t>
            </a: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Disability adaptations </a:t>
            </a:r>
          </a:p>
        </p:txBody>
      </p:sp>
    </p:spTree>
    <p:extLst>
      <p:ext uri="{BB962C8B-B14F-4D97-AF65-F5344CB8AC3E}">
        <p14:creationId xmlns:p14="http://schemas.microsoft.com/office/powerpoint/2010/main" val="279149000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504032" y="409228"/>
            <a:ext cx="8135937" cy="5715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buClr>
                <a:srgbClr val="376092"/>
              </a:buClr>
              <a:buSzPct val="100000"/>
              <a:buFont typeface="Calibri" pitchFamily="34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om LIFT Review</a:t>
            </a:r>
            <a:endParaRPr lang="en-GB" sz="3600" b="1" dirty="0">
              <a:solidFill>
                <a:srgbClr val="4283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75477" y="1412776"/>
            <a:ext cx="8208962" cy="3960439"/>
          </a:xfrm>
          <a:prstGeom prst="rect">
            <a:avLst/>
          </a:prstGeom>
        </p:spPr>
        <p:txBody>
          <a:bodyPr>
            <a:noAutofit/>
          </a:bodyPr>
          <a:lstStyle>
            <a:lvl1pPr marL="341313" indent="-341313" eaLnBrk="0" hangingPunct="0">
              <a:defRPr>
                <a:solidFill>
                  <a:schemeClr val="bg1"/>
                </a:solidFill>
                <a:latin typeface="Calibri" charset="0"/>
                <a:ea typeface="ＭＳ Ｐゴシック" charset="0"/>
                <a:cs typeface="MS Gothic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9pPr>
          </a:lstStyle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 will be an expectation that a school has sought advice and support from the LIFT prior to HNF application.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T will offer more whole school training.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district LIFT Executive will have a bank of resources and assessment tools to be used by the local schools.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NF Officers, SEN Provision Evaluation Officers and District Coordinators will meet on a regular basis to discuss packages of support for CYP in receipt of HNF. </a:t>
            </a:r>
          </a:p>
        </p:txBody>
      </p:sp>
      <p:pic>
        <p:nvPicPr>
          <p:cNvPr id="15365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3825" y="58054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66" name="Straight Connector 6"/>
          <p:cNvCxnSpPr>
            <a:cxnSpLocks noChangeShapeType="1"/>
          </p:cNvCxnSpPr>
          <p:nvPr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97636861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468313" y="371325"/>
            <a:ext cx="8135937" cy="1143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buClr>
                <a:srgbClr val="376092"/>
              </a:buClr>
              <a:buSzPct val="100000"/>
              <a:buFont typeface="Calibri" pitchFamily="34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posals - Affordability</a:t>
            </a:r>
            <a:endParaRPr lang="en-GB" sz="3600" b="1" dirty="0">
              <a:solidFill>
                <a:srgbClr val="4283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75477" y="1412776"/>
            <a:ext cx="8208962" cy="4248249"/>
          </a:xfrm>
          <a:prstGeom prst="rect">
            <a:avLst/>
          </a:prstGeom>
        </p:spPr>
        <p:txBody>
          <a:bodyPr>
            <a:noAutofit/>
          </a:bodyPr>
          <a:lstStyle>
            <a:lvl1pPr marL="341313" indent="-341313" eaLnBrk="0" hangingPunct="0">
              <a:defRPr>
                <a:solidFill>
                  <a:schemeClr val="bg1"/>
                </a:solidFill>
                <a:latin typeface="Calibri" charset="0"/>
                <a:ea typeface="ＭＳ Ｐゴシック" charset="0"/>
                <a:cs typeface="MS Gothic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9pPr>
          </a:lstStyle>
          <a:p>
            <a:pPr marL="0" indent="0">
              <a:buClr>
                <a:srgbClr val="4283C4"/>
              </a:buClr>
            </a:pP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ve to allocate top up funding 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primary need type </a:t>
            </a:r>
            <a:r>
              <a:rPr lang="en-GB" sz="28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</a:t>
            </a: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ASD or HI   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duated to reflect severity 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lised for 5% most severe (profound) </a:t>
            </a:r>
          </a:p>
          <a:p>
            <a:pPr marL="0" indent="0">
              <a:buClr>
                <a:srgbClr val="4283C4"/>
              </a:buClr>
            </a:pPr>
            <a:endParaRPr lang="en-GB" sz="28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4283C4"/>
              </a:buClr>
            </a:pP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ional </a:t>
            </a:r>
            <a:r>
              <a:rPr lang="en-GB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 up for smaller schools </a:t>
            </a: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continue.</a:t>
            </a:r>
          </a:p>
          <a:p>
            <a:pPr marL="0" indent="0">
              <a:buClr>
                <a:srgbClr val="4283C4"/>
              </a:buClr>
            </a:pPr>
            <a:endParaRPr lang="en-GB" sz="28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Clr>
                <a:srgbClr val="4283C4"/>
              </a:buClr>
            </a:pP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NF </a:t>
            </a:r>
            <a:r>
              <a:rPr lang="en-GB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rs will </a:t>
            </a: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ee provision (criteria).</a:t>
            </a:r>
          </a:p>
        </p:txBody>
      </p:sp>
      <p:pic>
        <p:nvPicPr>
          <p:cNvPr id="15365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3825" y="58054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66" name="Straight Connector 6"/>
          <p:cNvCxnSpPr>
            <a:cxnSpLocks noChangeShapeType="1"/>
          </p:cNvCxnSpPr>
          <p:nvPr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98257624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468313" y="44624"/>
            <a:ext cx="8135937" cy="576064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buClr>
                <a:srgbClr val="376092"/>
              </a:buClr>
              <a:buSzPct val="100000"/>
              <a:buFont typeface="Calibri" pitchFamily="34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posals - Process</a:t>
            </a:r>
            <a:endParaRPr lang="en-GB" sz="3600" b="1" dirty="0">
              <a:solidFill>
                <a:srgbClr val="4283C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179512" y="764704"/>
            <a:ext cx="8784976" cy="4176464"/>
          </a:xfrm>
          <a:prstGeom prst="rect">
            <a:avLst/>
          </a:prstGeom>
        </p:spPr>
        <p:txBody>
          <a:bodyPr>
            <a:noAutofit/>
          </a:bodyPr>
          <a:lstStyle>
            <a:lvl1pPr marL="341313" indent="-341313" eaLnBrk="0" hangingPunct="0">
              <a:defRPr>
                <a:solidFill>
                  <a:schemeClr val="bg1"/>
                </a:solidFill>
                <a:latin typeface="Calibri" charset="0"/>
                <a:ea typeface="ＭＳ Ｐゴシック" charset="0"/>
                <a:cs typeface="MS Gothic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9pPr>
          </a:lstStyle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er online application, duplication of other documents removed 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ed by robust pre existing evidence </a:t>
            </a:r>
            <a:r>
              <a:rPr lang="en-GB" sz="240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</a:t>
            </a: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showing the implementation of LIFT recommendations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additional information is required, applications will be deferred for no more than two weeks (school holidays will be taken into account).</a:t>
            </a:r>
            <a:endParaRPr lang="en-GB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ystem </a:t>
            </a: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not </a:t>
            </a:r>
            <a:r>
              <a:rPr lang="en-GB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te a timetable. School and parents will be informed of the amount of funding agreed and the length of the </a:t>
            </a: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eement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 </a:t>
            </a:r>
            <a:r>
              <a:rPr lang="en-GB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 agreed to end of key stage for most </a:t>
            </a: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x needs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ools </a:t>
            </a:r>
            <a:r>
              <a:rPr lang="en-GB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 be directed to training or support from LIFT</a:t>
            </a: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 Provision Evaluation Officer visits </a:t>
            </a:r>
            <a:r>
              <a:rPr lang="en-GB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increase</a:t>
            </a:r>
          </a:p>
          <a:p>
            <a:pPr marL="0" indent="0">
              <a:buClr>
                <a:srgbClr val="4283C4"/>
              </a:buClr>
            </a:pP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5365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3825" y="58054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66" name="Straight Connector 6"/>
          <p:cNvCxnSpPr>
            <a:cxnSpLocks noChangeShapeType="1"/>
          </p:cNvCxnSpPr>
          <p:nvPr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352918016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Text Box 1"/>
          <p:cNvSpPr txBox="1">
            <a:spLocks noChangeArrowheads="1"/>
          </p:cNvSpPr>
          <p:nvPr/>
        </p:nvSpPr>
        <p:spPr bwMode="auto">
          <a:xfrm>
            <a:off x="468313" y="116632"/>
            <a:ext cx="8135937" cy="5715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>
              <a:buClr>
                <a:srgbClr val="376092"/>
              </a:buClr>
              <a:buSzPct val="100000"/>
              <a:buFont typeface="Calibri" pitchFamily="34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sz="3600" b="1" dirty="0" smtClean="0">
                <a:solidFill>
                  <a:srgbClr val="4283C4"/>
                </a:solidFill>
                <a:cs typeface="Arial" charset="0"/>
              </a:rPr>
              <a:t> Next Steps HNF Review</a:t>
            </a:r>
            <a:endParaRPr lang="en-GB" sz="3600" b="1" dirty="0">
              <a:solidFill>
                <a:srgbClr val="4283C4"/>
              </a:solidFill>
              <a:cs typeface="Arial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75477" y="908720"/>
            <a:ext cx="8208962" cy="3960439"/>
          </a:xfrm>
          <a:prstGeom prst="rect">
            <a:avLst/>
          </a:prstGeom>
        </p:spPr>
        <p:txBody>
          <a:bodyPr>
            <a:noAutofit/>
          </a:bodyPr>
          <a:lstStyle>
            <a:lvl1pPr marL="341313" indent="-341313" eaLnBrk="0" hangingPunct="0">
              <a:defRPr>
                <a:solidFill>
                  <a:schemeClr val="bg1"/>
                </a:solidFill>
                <a:latin typeface="Calibri" charset="0"/>
                <a:ea typeface="ＭＳ Ｐゴシック" charset="0"/>
                <a:cs typeface="MS Gothic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charset="0"/>
              <a:defRPr>
                <a:solidFill>
                  <a:schemeClr val="bg1"/>
                </a:solidFill>
                <a:latin typeface="Calibri" charset="0"/>
                <a:ea typeface="MS Gothic" charset="0"/>
                <a:cs typeface="MS Gothic" charset="0"/>
              </a:defRPr>
            </a:lvl9pPr>
          </a:lstStyle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posed changes to the application process to be in place from January 2018.</a:t>
            </a:r>
          </a:p>
          <a:p>
            <a:pPr marL="0" indent="0">
              <a:buClr>
                <a:srgbClr val="4283C4"/>
              </a:buClr>
            </a:pPr>
            <a:endParaRPr lang="en-GB" sz="2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applications will continue to be subject to the 30% reduction until March 31</a:t>
            </a:r>
            <a:r>
              <a:rPr lang="en-GB" sz="2400" baseline="30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8.</a:t>
            </a:r>
          </a:p>
          <a:p>
            <a:pPr marL="0" indent="0">
              <a:buClr>
                <a:srgbClr val="4283C4"/>
              </a:buClr>
            </a:pPr>
            <a:endParaRPr lang="en-GB" sz="2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s to </a:t>
            </a:r>
            <a:r>
              <a:rPr lang="en-GB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eds specific graduated response funding approach will need to fall into line with the National Funding formula changes from April 2018.</a:t>
            </a:r>
          </a:p>
          <a:p>
            <a:pPr marL="0" indent="0">
              <a:buClr>
                <a:srgbClr val="4283C4"/>
              </a:buClr>
            </a:pPr>
            <a:endParaRPr lang="en-GB" sz="2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4283C4"/>
              </a:buClr>
              <a:buFont typeface="Arial" panose="020B0604020202020204" pitchFamily="34" charset="0"/>
              <a:buChar char="•"/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 High Needs Funding Review will be completed by December 2017. </a:t>
            </a:r>
          </a:p>
          <a:p>
            <a:pPr marL="0" indent="0">
              <a:buClr>
                <a:srgbClr val="4283C4"/>
              </a:buClr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</p:txBody>
      </p:sp>
      <p:pic>
        <p:nvPicPr>
          <p:cNvPr id="15365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43825" y="5805488"/>
            <a:ext cx="860425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5366" name="Straight Connector 6"/>
          <p:cNvCxnSpPr>
            <a:cxnSpLocks noChangeShapeType="1"/>
          </p:cNvCxnSpPr>
          <p:nvPr/>
        </p:nvCxnSpPr>
        <p:spPr bwMode="auto">
          <a:xfrm>
            <a:off x="539750" y="5661025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386952202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4035" y="1367451"/>
            <a:ext cx="7495931" cy="477373"/>
          </a:xfrm>
        </p:spPr>
        <p:txBody>
          <a:bodyPr>
            <a:noAutofit/>
          </a:bodyPr>
          <a:lstStyle/>
          <a:p>
            <a:r>
              <a:rPr lang="en-GB" sz="4400" b="0" dirty="0" smtClean="0"/>
              <a:t>www.kelsi.org.uk</a:t>
            </a:r>
            <a:endParaRPr lang="en-GB" sz="4800" b="0" dirty="0"/>
          </a:p>
        </p:txBody>
      </p:sp>
      <p:sp>
        <p:nvSpPr>
          <p:cNvPr id="6" name="TextBox 5"/>
          <p:cNvSpPr txBox="1"/>
          <p:nvPr/>
        </p:nvSpPr>
        <p:spPr>
          <a:xfrm>
            <a:off x="467544" y="1940639"/>
            <a:ext cx="82089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continue to visit the Kelsi website for key legislation, guidance and latest news and events available to educational professionals. </a:t>
            </a:r>
            <a:endParaRPr lang="en-GB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146" name="Picture 2" descr="http://www.kelsi.org.uk/__data/assets/image/0007/29068/Kelsi-website-devices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3163" y="3140968"/>
            <a:ext cx="4557674" cy="237791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0" y="127348"/>
            <a:ext cx="9144000" cy="1141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rgbClr val="4283C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4283C4"/>
                </a:solidFill>
                <a:latin typeface="Arial" charset="0"/>
                <a:cs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4283C4"/>
                </a:solidFill>
                <a:latin typeface="Arial" charset="0"/>
                <a:cs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4283C4"/>
                </a:solidFill>
                <a:latin typeface="Arial" charset="0"/>
                <a:cs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4283C4"/>
                </a:solidFill>
                <a:latin typeface="Arial" charset="0"/>
                <a:cs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4283C4"/>
                </a:solidFill>
                <a:latin typeface="Arial" charset="0"/>
                <a:cs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4283C4"/>
                </a:solidFill>
                <a:latin typeface="Arial" charset="0"/>
                <a:cs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4283C4"/>
                </a:solidFill>
                <a:latin typeface="Arial" charset="0"/>
                <a:cs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4283C4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GB" sz="4800" dirty="0" smtClean="0"/>
              <a:t>Thank you for attending</a:t>
            </a:r>
            <a:endParaRPr lang="en-GB" sz="4800" dirty="0"/>
          </a:p>
        </p:txBody>
      </p:sp>
    </p:spTree>
    <p:extLst>
      <p:ext uri="{BB962C8B-B14F-4D97-AF65-F5344CB8AC3E}">
        <p14:creationId xmlns:p14="http://schemas.microsoft.com/office/powerpoint/2010/main" val="28994331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6262" y="49524"/>
            <a:ext cx="8228013" cy="1141412"/>
          </a:xfrm>
        </p:spPr>
        <p:txBody>
          <a:bodyPr>
            <a:normAutofit/>
          </a:bodyPr>
          <a:lstStyle/>
          <a:p>
            <a:pPr algn="l"/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Context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215091" y="959628"/>
            <a:ext cx="8784976" cy="4917644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 NFF confirmed for 2018-19 and 2019-20</a:t>
            </a: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ning KCC still operates a local funding formula</a:t>
            </a: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still a key role for Schools’ Funding Forum</a:t>
            </a: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 some tough decisions on competing prioriti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vernment’s intention is to implement Hard NFF in the future (exact date unspecified) </a:t>
            </a:r>
            <a:r>
              <a:rPr lang="en-GB" sz="3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GB" sz="3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ubject to a change in primary legislation</a:t>
            </a:r>
            <a:endParaRPr lang="en-GB" sz="3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en-GB" sz="2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0" indent="0">
              <a:buFont typeface="Arial" charset="0"/>
              <a:buNone/>
            </a:pPr>
            <a:endParaRPr lang="en-GB" sz="28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8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8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3430623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6262" y="49524"/>
            <a:ext cx="8228013" cy="1141412"/>
          </a:xfrm>
        </p:spPr>
        <p:txBody>
          <a:bodyPr>
            <a:normAutofit/>
          </a:bodyPr>
          <a:lstStyle/>
          <a:p>
            <a:pPr algn="l"/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does a Soft NFF work?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215091" y="1098939"/>
            <a:ext cx="8784976" cy="4418293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DfE NFF factors and rates are applied to all schools, then</a:t>
            </a: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GB" sz="2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ximum gains are capped at +3%</a:t>
            </a: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GB" sz="2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ck that all schools are receiving +0.5%</a:t>
            </a: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GB" sz="2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n check that schools are receiving at least the Minimum Funding Levels (trumps +3%)</a:t>
            </a:r>
          </a:p>
          <a:p>
            <a:pPr marL="1258887" lvl="2" indent="-457200">
              <a:buFont typeface="Arial" panose="020B0604020202020204" pitchFamily="34" charset="0"/>
              <a:buChar char="•"/>
            </a:pPr>
            <a:r>
              <a:rPr lang="en-GB" sz="2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ry = £3,300 in 18-19 and £3,500 in 19-20</a:t>
            </a:r>
          </a:p>
          <a:p>
            <a:pPr marL="1258887" lvl="2" indent="-457200">
              <a:buFont typeface="Arial" panose="020B0604020202020204" pitchFamily="34" charset="0"/>
              <a:buChar char="•"/>
            </a:pPr>
            <a:r>
              <a:rPr lang="en-GB" sz="2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ary = £4,600 in 18-19 and £4,800 in 19-20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sed school figures are then aggregated up to LA level to provide a revised Schools Block </a:t>
            </a:r>
            <a:endParaRPr lang="en-GB" sz="2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en-GB" sz="24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0" indent="0">
              <a:buFont typeface="Arial" charset="0"/>
              <a:buNone/>
            </a:pPr>
            <a:endParaRPr lang="en-GB" sz="24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4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sz="24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sz="24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4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3780925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6262" y="49524"/>
            <a:ext cx="8228013" cy="1141412"/>
          </a:xfrm>
        </p:spPr>
        <p:txBody>
          <a:bodyPr>
            <a:normAutofit/>
          </a:bodyPr>
          <a:lstStyle/>
          <a:p>
            <a:pPr algn="l"/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does this mean in £s?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215091" y="1170947"/>
            <a:ext cx="8784976" cy="4418293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ools block </a:t>
            </a: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using current school data</a:t>
            </a: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-19 = +£27.6m (+3.3%)</a:t>
            </a: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-20 = +£22.3m (+2.6%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before including rising pupil popul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gh Needs block </a:t>
            </a: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 +£2.1m in 2018-19, +£0.9m in 2019-20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al School Services block </a:t>
            </a:r>
            <a:r>
              <a:rPr lang="en-GB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=-£171k in 2018-19 and then a further -£197k in 2019-20 </a:t>
            </a:r>
            <a:endParaRPr lang="en-GB" sz="2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charset="0"/>
              <a:buNone/>
            </a:pPr>
            <a:r>
              <a:rPr lang="en-GB" sz="28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0" indent="0">
              <a:buFont typeface="Arial" charset="0"/>
              <a:buNone/>
            </a:pPr>
            <a:endParaRPr lang="en-GB" sz="28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8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GB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28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1962185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76262" y="49524"/>
            <a:ext cx="8228013" cy="1141412"/>
          </a:xfrm>
        </p:spPr>
        <p:txBody>
          <a:bodyPr>
            <a:normAutofit fontScale="90000"/>
          </a:bodyPr>
          <a:lstStyle/>
          <a:p>
            <a:pPr algn="l"/>
            <a:r>
              <a:rPr lang="en-GB" sz="3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 Table – Kent Schools Block</a:t>
            </a:r>
            <a:endParaRPr lang="en-GB" sz="36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215091" y="908720"/>
            <a:ext cx="8784976" cy="4418293"/>
          </a:xfrm>
          <a:prstGeom prst="rect">
            <a:avLst/>
          </a:prstGeom>
        </p:spPr>
        <p:txBody>
          <a:bodyPr/>
          <a:lstStyle>
            <a:lvl1pPr marL="341313" indent="-341313" algn="l" defTabSz="449263" rtl="0" eaLnBrk="0" fontAlgn="base" hangingPunct="0">
              <a:lnSpc>
                <a:spcPct val="93000"/>
              </a:lnSpc>
              <a:spcBef>
                <a:spcPts val="8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3200">
                <a:solidFill>
                  <a:srgbClr val="000000"/>
                </a:solidFill>
                <a:latin typeface="+mn-lt"/>
                <a:ea typeface="ＭＳ Ｐゴシック" charset="0"/>
                <a:cs typeface="+mn-cs"/>
              </a:defRPr>
            </a:lvl1pPr>
            <a:lvl2pPr marL="741363" indent="-284163" algn="l" defTabSz="449263" rtl="0" eaLnBrk="0" fontAlgn="base" hangingPunct="0">
              <a:lnSpc>
                <a:spcPct val="93000"/>
              </a:lnSpc>
              <a:spcBef>
                <a:spcPts val="7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8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49263" rtl="0" eaLnBrk="0" fontAlgn="base" hangingPunct="0">
              <a:lnSpc>
                <a:spcPct val="93000"/>
              </a:lnSpc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•"/>
              <a:defRPr sz="24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–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49263" rtl="0" eaLnBrk="0" fontAlgn="base" hangingPunct="0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49263" rtl="0" fontAlgn="base">
              <a:lnSpc>
                <a:spcPct val="93000"/>
              </a:lnSpc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charset="0"/>
              <a:buChar char="»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charset="0"/>
              <a:buNone/>
            </a:pPr>
            <a:r>
              <a:rPr lang="en-GB" kern="0" dirty="0" smtClean="0"/>
              <a:t>  </a:t>
            </a:r>
          </a:p>
          <a:p>
            <a:pPr marL="0" indent="0">
              <a:buFont typeface="Arial" charset="0"/>
              <a:buNone/>
            </a:pPr>
            <a:endParaRPr lang="en-GB" kern="0" dirty="0" smtClean="0"/>
          </a:p>
          <a:p>
            <a:endParaRPr lang="en-GB" kern="0" dirty="0" smtClean="0"/>
          </a:p>
          <a:p>
            <a:pPr lvl="1"/>
            <a:endParaRPr lang="en-GB" kern="0" dirty="0" smtClean="0"/>
          </a:p>
          <a:p>
            <a:pPr lvl="1"/>
            <a:endParaRPr lang="en-GB" kern="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kern="0" dirty="0"/>
          </a:p>
        </p:txBody>
      </p:sp>
      <p:pic>
        <p:nvPicPr>
          <p:cNvPr id="7" name="Picture 2" descr="C:\Documents and Settings\PlummO01\Desktop\KCC_Logo_New_2012_Frame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80486" y="5826364"/>
            <a:ext cx="1223962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Straight Connector 6"/>
          <p:cNvCxnSpPr>
            <a:cxnSpLocks noChangeShapeType="1"/>
          </p:cNvCxnSpPr>
          <p:nvPr/>
        </p:nvCxnSpPr>
        <p:spPr bwMode="auto">
          <a:xfrm>
            <a:off x="576262" y="5794107"/>
            <a:ext cx="8027988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368975"/>
              </p:ext>
            </p:extLst>
          </p:nvPr>
        </p:nvGraphicFramePr>
        <p:xfrm>
          <a:off x="683568" y="1277118"/>
          <a:ext cx="7543092" cy="4032450"/>
        </p:xfrm>
        <a:graphic>
          <a:graphicData uri="http://schemas.openxmlformats.org/drawingml/2006/table">
            <a:tbl>
              <a:tblPr firstRow="1" firstCol="1" bandRow="1"/>
              <a:tblGrid>
                <a:gridCol w="2050320"/>
                <a:gridCol w="1208906"/>
                <a:gridCol w="1208131"/>
                <a:gridCol w="988823"/>
                <a:gridCol w="1098089"/>
                <a:gridCol w="988823"/>
              </a:tblGrid>
              <a:tr h="403245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Table 1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i="1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figures subject to rounding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DSG Schools Block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Movement in funding from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20973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previous year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current year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4032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£’m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£’m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%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£’m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%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32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7-18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£839.4m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 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32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8-19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£867.0m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£27.6m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3.3%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£27.6m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3.3%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32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019-20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£889.3m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£22.3m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2.6%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£49.9m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5.9%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064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Once NFF is fully implemented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£901.5m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£12.2m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1.4%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£62.1m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+7.4%</a:t>
                      </a:r>
                      <a:endParaRPr lang="en-GB" sz="14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2268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4183C4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2007 PowerPoint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2007 PowerPoint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9</TotalTime>
  <Words>3647</Words>
  <Application>Microsoft Office PowerPoint</Application>
  <PresentationFormat>On-screen Show (4:3)</PresentationFormat>
  <Paragraphs>772</Paragraphs>
  <Slides>57</Slides>
  <Notes>53</Notes>
  <HiddenSlides>0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57</vt:i4>
      </vt:variant>
    </vt:vector>
  </HeadingPairs>
  <TitlesOfParts>
    <vt:vector size="62" baseType="lpstr">
      <vt:lpstr>Office Theme</vt:lpstr>
      <vt:lpstr>2_Office Theme</vt:lpstr>
      <vt:lpstr>1_Office Theme</vt:lpstr>
      <vt:lpstr>1_Office 2007 PowerPoint template</vt:lpstr>
      <vt:lpstr>Office 2007 PowerPoint template</vt:lpstr>
      <vt:lpstr>Headteacher Briefings November 2017</vt:lpstr>
      <vt:lpstr>CYPE Priorities 2017/18</vt:lpstr>
      <vt:lpstr>CYPE Priorities 2017/18</vt:lpstr>
      <vt:lpstr>National Funding Formula</vt:lpstr>
      <vt:lpstr>National Context</vt:lpstr>
      <vt:lpstr>National Context</vt:lpstr>
      <vt:lpstr>How does a Soft NFF work?</vt:lpstr>
      <vt:lpstr>What does this mean in £s?</vt:lpstr>
      <vt:lpstr>Summary Table – Kent Schools Block</vt:lpstr>
      <vt:lpstr>How do we compare to OLAs?</vt:lpstr>
      <vt:lpstr>Analysis of DSG per pupil by Region</vt:lpstr>
      <vt:lpstr>Local flexibility under Soft NFF</vt:lpstr>
      <vt:lpstr>Other issues</vt:lpstr>
      <vt:lpstr>KCC Consultation with Schools</vt:lpstr>
      <vt:lpstr>Which overarching Principle should we look to follow?</vt:lpstr>
      <vt:lpstr>If we went with option a)</vt:lpstr>
      <vt:lpstr>Structure of KCC Consultation with Schools</vt:lpstr>
      <vt:lpstr>Timetable of key dates</vt:lpstr>
      <vt:lpstr>Any questions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ent </vt:lpstr>
      <vt:lpstr>Went </vt:lpstr>
      <vt:lpstr>Went </vt:lpstr>
      <vt:lpstr>Went </vt:lpstr>
      <vt:lpstr>  Review of High Needs Funding –  Findings and Proposals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igh Needs Funding - Primary School examples</vt:lpstr>
      <vt:lpstr>High Needs Funding - Primary School exampl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ww.kelsi.org.uk</vt:lpstr>
    </vt:vector>
  </TitlesOfParts>
  <Company>Kent County Counci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hools national funding formula Government consultation – stage 2</dc:title>
  <dc:creator>Simon Pleace</dc:creator>
  <cp:lastModifiedBy>Edwards, Max - EY PS</cp:lastModifiedBy>
  <cp:revision>105</cp:revision>
  <cp:lastPrinted>2017-11-30T10:32:45Z</cp:lastPrinted>
  <dcterms:created xsi:type="dcterms:W3CDTF">2017-01-07T15:22:58Z</dcterms:created>
  <dcterms:modified xsi:type="dcterms:W3CDTF">2017-11-30T10:32:51Z</dcterms:modified>
</cp:coreProperties>
</file>